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>
  <p:sldMasterIdLst>
    <p:sldMasterId id="2147483681" r:id="rId4"/>
    <p:sldMasterId id="2147483712" r:id="rId5"/>
  </p:sldMasterIdLst>
  <p:notesMasterIdLst>
    <p:notesMasterId r:id="rId20"/>
  </p:notesMasterIdLst>
  <p:sldIdLst>
    <p:sldId id="256" r:id="rId6"/>
    <p:sldId id="272" r:id="rId7"/>
    <p:sldId id="286" r:id="rId8"/>
    <p:sldId id="287" r:id="rId9"/>
    <p:sldId id="288" r:id="rId10"/>
    <p:sldId id="289" r:id="rId11"/>
    <p:sldId id="265" r:id="rId12"/>
    <p:sldId id="281" r:id="rId13"/>
    <p:sldId id="275" r:id="rId14"/>
    <p:sldId id="276" r:id="rId15"/>
    <p:sldId id="277" r:id="rId16"/>
    <p:sldId id="290" r:id="rId17"/>
    <p:sldId id="291" r:id="rId18"/>
    <p:sldId id="270" r:id="rId19"/>
  </p:sldIdLst>
  <p:sldSz cx="13439775" cy="7559675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libri Light" panose="020F0302020204030204" pitchFamily="34" charset="0"/>
      <p:regular r:id="rId25"/>
      <p:italic r:id="rId26"/>
    </p:embeddedFont>
    <p:embeddedFont>
      <p:font typeface="Franklin Gothic" panose="020B0604020202020204" charset="0"/>
      <p:regular r:id="rId27"/>
      <p:bold r:id="rId28"/>
      <p:italic r:id="rId29"/>
      <p:boldItalic r:id="rId30"/>
    </p:embeddedFont>
    <p:embeddedFont>
      <p:font typeface="Franklin Gothic Book" panose="020B0503020102020204" pitchFamily="34" charset="0"/>
      <p:regular r:id="rId31"/>
      <p:italic r:id="rId32"/>
    </p:embeddedFont>
    <p:embeddedFont>
      <p:font typeface="Franklin Gothic Demi" panose="020B0703020102020204" pitchFamily="34" charset="0"/>
      <p:regular r:id="rId33"/>
      <p:italic r:id="rId34"/>
    </p:embeddedFont>
    <p:embeddedFont>
      <p:font typeface="Libre Franklin" pitchFamily="2" charset="0"/>
      <p:regular r:id="rId35"/>
      <p:bold r:id="rId36"/>
      <p:italic r:id="rId37"/>
      <p:boldItalic r:id="rId38"/>
    </p:embeddedFont>
    <p:embeddedFont>
      <p:font typeface="Wingdings 2" panose="05020102010507070707" pitchFamily="18" charset="2"/>
      <p:regular r:id="rId39"/>
    </p:embeddedFont>
  </p:embeddedFontLst>
  <p:custDataLst>
    <p:tags r:id="rId4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969" userDrawn="1">
          <p15:clr>
            <a:srgbClr val="A4A3A4"/>
          </p15:clr>
        </p15:guide>
        <p15:guide id="2" orient="horz" pos="1733" userDrawn="1">
          <p15:clr>
            <a:srgbClr val="A4A3A4"/>
          </p15:clr>
        </p15:guide>
        <p15:guide id="3" pos="4233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3" roundtripDataSignature="AMtx7mjdYYex7yq3hjLLvnkDdEYdmKE07Q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87C1AD-F1B5-325E-2F20-C04524BC8B96}" name="Casa 3" initials="C3" userId="S::casa3@infomineo.onmicrosoft.com::d591ae76-e12b-476f-b482-d9cb8033e0a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D9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02" autoAdjust="0"/>
    <p:restoredTop sz="96081" autoAdjust="0"/>
  </p:normalViewPr>
  <p:slideViewPr>
    <p:cSldViewPr snapToGrid="0">
      <p:cViewPr varScale="1">
        <p:scale>
          <a:sx n="54" d="100"/>
          <a:sy n="54" d="100"/>
        </p:scale>
        <p:origin x="1000" y="24"/>
      </p:cViewPr>
      <p:guideLst>
        <p:guide orient="horz" pos="3969"/>
        <p:guide orient="horz" pos="1733"/>
        <p:guide pos="423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4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6.fntdata"/><Relationship Id="rId39" Type="http://schemas.openxmlformats.org/officeDocument/2006/relationships/font" Target="fonts/font19.fntdata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font" Target="fonts/font17.fntdata"/><Relationship Id="rId40" Type="http://schemas.openxmlformats.org/officeDocument/2006/relationships/tags" Target="tags/tag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11.fntdata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43" Type="http://customschemas.google.com/relationships/presentationmetadata" Target="metadata"/><Relationship Id="rId48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font" Target="fonts/font18.fntdata"/><Relationship Id="rId46" Type="http://schemas.openxmlformats.org/officeDocument/2006/relationships/theme" Target="theme/theme1.xml"/><Relationship Id="rId2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22" name="Google Shape;52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3" name="Google Shape;36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IN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801346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30" name="Google Shape;730;p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31" name="Google Shape;731;p3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7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690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26.bin"/><Relationship Id="rId7" Type="http://schemas.openxmlformats.org/officeDocument/2006/relationships/hyperlink" Target="https://infomineo.com/insights/blog/" TargetMode="External"/><Relationship Id="rId12" Type="http://schemas.openxmlformats.org/officeDocument/2006/relationships/image" Target="../media/image1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6.svg"/><Relationship Id="rId11" Type="http://schemas.openxmlformats.org/officeDocument/2006/relationships/hyperlink" Target="https://www.facebook.com/Infomineo/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16.emf"/><Relationship Id="rId4" Type="http://schemas.openxmlformats.org/officeDocument/2006/relationships/image" Target="../media/image11.emf"/><Relationship Id="rId9" Type="http://schemas.openxmlformats.org/officeDocument/2006/relationships/hyperlink" Target="https://www.linkedin.com/company-beta/2416143/admin/updates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21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2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24.png"/><Relationship Id="rId4" Type="http://schemas.openxmlformats.org/officeDocument/2006/relationships/image" Target="../media/image8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2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31974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512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4" r="-1" b="-4"/>
          <a:stretch/>
        </p:blipFill>
        <p:spPr>
          <a:xfrm>
            <a:off x="0" y="0"/>
            <a:ext cx="13439775" cy="75596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91351" y="0"/>
            <a:ext cx="7014534" cy="162615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91351" y="2033414"/>
            <a:ext cx="7014534" cy="552626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5302" y="3378174"/>
            <a:ext cx="6038903" cy="135934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512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5291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5302" y="4793503"/>
            <a:ext cx="6038903" cy="322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205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51986" lvl="0" indent="-251986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02" y="6529771"/>
            <a:ext cx="395942" cy="21371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543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51986" indent="-251986">
              <a:lnSpc>
                <a:spcPct val="90000"/>
              </a:lnSpc>
              <a:spcBef>
                <a:spcPts val="1102"/>
              </a:spcBef>
            </a:pPr>
            <a:r>
              <a:rPr lang="en-US"/>
              <a:t>Dat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3CF3BF-BC79-895D-2080-23B54D7D49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9606" y="190600"/>
            <a:ext cx="3298595" cy="123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047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51628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4C70F-8641-4AD5-A3F6-0EBA9C54EA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EF22FF7-C1AC-4F2A-9E98-23628466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D4977A-6637-4106-96DA-BDAAC2518559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1"/>
            <a:chOff x="11979436" y="4529724"/>
            <a:chExt cx="110809" cy="204771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74D7535-DD55-4BCD-A913-9F98A80E2AAD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5BE1D1D-5C46-42D6-AA46-FD5902FDE024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F7D663-CB75-456D-911A-BD2A8F59B130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97E6936-7A47-4E85-B003-37AE13A73F22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6F6AB7C-E8B0-4611-A905-F86C05FEC940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04CE7F7-478B-4DFB-A021-80071B529493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522A9F9-C26A-4B72-93CD-9528636133FE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D674410-4755-485D-BEA6-A9EE31599080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2F1A2D-9FF5-49A3-B11A-A842CB94EEE7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660309-3ECC-487F-9D6C-08DE732EEA92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373EC6-22EE-4AE8-A986-A3662C2AF607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08C567-10B3-494B-8347-38E808F75B2A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07EA0CD-BF40-4B85-88B1-06D5221EA25F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580E308-C62A-4BCD-993B-AFE1C3E57E9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36F53DC-0C00-4681-ADA4-58AABB9FD0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40" name="Copyright">
              <a:extLst>
                <a:ext uri="{FF2B5EF4-FFF2-40B4-BE49-F238E27FC236}">
                  <a16:creationId xmlns:a16="http://schemas.microsoft.com/office/drawing/2014/main" id="{36107045-99BA-4480-99BA-1F7D50690723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0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1077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7241" y="2398420"/>
            <a:ext cx="5953400" cy="126893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8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78" lvl="2" indent="-197739" algn="l" defTabSz="1007943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41" y="2047413"/>
            <a:ext cx="5953400" cy="290073"/>
          </a:xfrm>
        </p:spPr>
        <p:txBody>
          <a:bodyPr>
            <a:spAutoFit/>
          </a:bodyPr>
          <a:lstStyle>
            <a:lvl1pPr>
              <a:defRPr sz="1984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137" y="2398421"/>
            <a:ext cx="5953400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9137" y="2047413"/>
            <a:ext cx="5953400" cy="290073"/>
          </a:xfrm>
        </p:spPr>
        <p:txBody>
          <a:bodyPr>
            <a:spAutoFit/>
          </a:bodyPr>
          <a:lstStyle>
            <a:lvl1pPr>
              <a:defRPr sz="1984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49680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172875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6173-BEA2-49BD-B5FE-C9602A2A7D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7242" y="2398420"/>
            <a:ext cx="3865893" cy="1297695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 smtClean="0"/>
            </a:lvl2pPr>
            <a:lvl3pPr marL="197738" indent="0">
              <a:buNone/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42" y="2047413"/>
            <a:ext cx="3865893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68491" y="2398421"/>
            <a:ext cx="3864046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8491" y="2047413"/>
            <a:ext cx="3864046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59121794-F5DD-4A31-9CFD-38DDBBCF1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8760" y="2398421"/>
            <a:ext cx="3864046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143DD43-CBE6-4068-87AB-C994C18915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8760" y="2047413"/>
            <a:ext cx="3864046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9CDC1BE-F1D3-4AAB-9527-98835405B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1407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1024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14B796-0A71-42E1-B6EB-B6B2B79412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7242" y="2398420"/>
            <a:ext cx="2821422" cy="126893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8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78" lvl="2" indent="-197739" algn="l" defTabSz="1007943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42" y="2047413"/>
            <a:ext cx="2821422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137" y="2398421"/>
            <a:ext cx="2816350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9137" y="2047413"/>
            <a:ext cx="2816350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3189" y="2398420"/>
            <a:ext cx="2821422" cy="126893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8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78" lvl="2" indent="-197739" algn="l" defTabSz="1007943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189" y="2047413"/>
            <a:ext cx="2821422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6186" y="2398421"/>
            <a:ext cx="2816350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16186" y="2047413"/>
            <a:ext cx="2816350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9447C-186B-4C6F-929F-503046B2C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030770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416537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80F200-6A77-426D-879D-7C93BD8B9F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7242" y="2398420"/>
            <a:ext cx="2186609" cy="126893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8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78" lvl="2" indent="-197739" algn="l" defTabSz="1007943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42" y="2047413"/>
            <a:ext cx="2186609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6418" y="2398421"/>
            <a:ext cx="2182678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6418" y="2047413"/>
            <a:ext cx="2182678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475C8AB-1FCD-402F-8C3E-9BA6CE42B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6830" y="2398420"/>
            <a:ext cx="2186609" cy="1268937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8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78" lvl="2" indent="-197739" algn="l" defTabSz="1007943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35FA198-8A13-4A8F-B4EE-49845B8E8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6830" y="2047413"/>
            <a:ext cx="2186609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6ACE083-C86D-45ED-8C11-019550696D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36006" y="2398421"/>
            <a:ext cx="2182678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29247DB4-9C96-4895-AABD-422C522A97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6006" y="2047413"/>
            <a:ext cx="2182678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ADA6637A-F017-4396-B239-B80ED2F97B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49524" y="2398421"/>
            <a:ext cx="2182678" cy="1269422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7B295F18-5030-4811-B6C7-29EE7444BC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49524" y="2047413"/>
            <a:ext cx="2182678" cy="29007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84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E372659-0669-485A-8EB1-D45CE8B0F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49432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y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690249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1C34F18-9238-4944-9751-DBBFCD9E3C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475269" cy="7559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9D39E-8FE8-4C3F-AE18-8C3DCD3BA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7170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004E42-DB15-49F0-9906-81D60B6E8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4"/>
            <a:ext cx="3566211" cy="922805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7387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252616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BEB73-A27D-4B04-A133-510ECB47E9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475269" cy="755967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727F30D-9242-4A88-9322-2EDE74F75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7170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1BEDEA-6CDE-421B-87A1-0632A5F94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3456648" cy="9226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1797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Lef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170251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8FBABF1-7718-43F6-B247-8269F95D22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960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0" y="-1"/>
            <a:ext cx="4475269" cy="755967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429EF-F441-3040-BB9E-07E66E2B2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82" y="2806564"/>
            <a:ext cx="3342819" cy="1946542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496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6F1C9-C479-4E50-B466-BBB81EB0E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7170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110875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574734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AE3F72-88DF-4B4D-99C2-2DFE1EFB16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1" y="-1"/>
            <a:ext cx="6722684" cy="755967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B8B4C6-4E60-7745-91B6-1F4DD4B9B521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7F38A5-E451-48CD-9B09-4D22AB98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443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2586D8-6C60-41B6-B276-7BF701FE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5691741" cy="9226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36546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882269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3439775" cy="7559675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099" y="7127143"/>
            <a:ext cx="166103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E9086E-00AC-4525-B7C4-F51B01FEA197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0"/>
            <a:chOff x="11979436" y="4529724"/>
            <a:chExt cx="110809" cy="204771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F2864F8-CE03-42D9-A1C6-49C13A9092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DDB86A9-D96F-4924-9B1A-50C360C15742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86074501-3762-407F-A74D-3799FEAFBD37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3D29F00-385D-4638-BD08-A8B98A323401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E2A3DD6C-1362-40F5-A7B3-2E963C5D94FF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616E241-6E09-4071-B657-CE4E7BB5CD37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6A9939C2-C1A3-49F7-A69F-F2E83814F06B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6484D2-FDEB-453B-ACAB-605BDF0437F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626162E-D8C5-4F77-A6A1-E2B6C7CABFC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6446D18-F2A6-4A1D-9193-2C1738C1053D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6A74D8F-C94B-4FE0-9FED-86918ACD7711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E130351-367D-46DC-AEF2-11BF681D6F21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295B187-375A-4BC1-8930-8B6FB7B25415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987C9E7-CE53-4EC9-8C60-48477925BAD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9" name="Copyright">
              <a:extLst>
                <a:ext uri="{FF2B5EF4-FFF2-40B4-BE49-F238E27FC236}">
                  <a16:creationId xmlns:a16="http://schemas.microsoft.com/office/drawing/2014/main" id="{7F3EFBBF-8F6E-4F95-970D-289D95FB3EDE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7700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21958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A person holding a phone&#10;&#10;Description automatically generated with low confidence">
            <a:extLst>
              <a:ext uri="{FF2B5EF4-FFF2-40B4-BE49-F238E27FC236}">
                <a16:creationId xmlns:a16="http://schemas.microsoft.com/office/drawing/2014/main" id="{E6014E73-E918-7E3B-1116-0A79F39C8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2" t="-1" r="21590" b="-1"/>
          <a:stretch/>
        </p:blipFill>
        <p:spPr>
          <a:xfrm>
            <a:off x="0" y="0"/>
            <a:ext cx="13439775" cy="75596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0270E3B-760C-41F0-B9D6-A2E014047679}"/>
              </a:ext>
            </a:extLst>
          </p:cNvPr>
          <p:cNvSpPr/>
          <p:nvPr userDrawn="1"/>
        </p:nvSpPr>
        <p:spPr>
          <a:xfrm>
            <a:off x="591351" y="0"/>
            <a:ext cx="7014534" cy="162615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45000">
                <a:schemeClr val="tx2">
                  <a:lumMod val="50000"/>
                  <a:alpha val="90000"/>
                </a:schemeClr>
              </a:gs>
              <a:gs pos="100000">
                <a:schemeClr val="tx2">
                  <a:lumMod val="75000"/>
                  <a:alpha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CEEA00B-DE05-BC01-6E87-AC9F343D546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9606" y="190600"/>
            <a:ext cx="3298595" cy="12333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C7EB34-6497-4D19-B99E-5F4D7F924E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512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91351" y="2033414"/>
            <a:ext cx="7014534" cy="552626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5302" y="3378174"/>
            <a:ext cx="6038903" cy="135934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512" b="0" cap="none" baseline="0" dirty="0">
                <a:solidFill>
                  <a:schemeClr val="bg1"/>
                </a:solidFill>
                <a:latin typeface="Franklin Gothic Demi" panose="020B07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lvl="0">
              <a:lnSpc>
                <a:spcPts val="5291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5302" y="4793503"/>
            <a:ext cx="6038903" cy="322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205" cap="none" baseline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51986" lvl="0" indent="-251986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02" y="6529771"/>
            <a:ext cx="395942" cy="21371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543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251986" indent="-251986">
              <a:lnSpc>
                <a:spcPct val="90000"/>
              </a:lnSpc>
              <a:spcBef>
                <a:spcPts val="1102"/>
              </a:spcBef>
            </a:pPr>
            <a:r>
              <a:rPr lang="en-US"/>
              <a:t>Date</a:t>
            </a:r>
            <a:endParaRPr lang="en-US" dirty="0"/>
          </a:p>
        </p:txBody>
      </p:sp>
      <p:grpSp>
        <p:nvGrpSpPr>
          <p:cNvPr id="7" name="Google Shape;36;p40">
            <a:extLst>
              <a:ext uri="{FF2B5EF4-FFF2-40B4-BE49-F238E27FC236}">
                <a16:creationId xmlns:a16="http://schemas.microsoft.com/office/drawing/2014/main" id="{71CB15B7-864A-9DC1-657D-C5E29829C0C4}"/>
              </a:ext>
            </a:extLst>
          </p:cNvPr>
          <p:cNvGrpSpPr/>
          <p:nvPr userDrawn="1"/>
        </p:nvGrpSpPr>
        <p:grpSpPr>
          <a:xfrm>
            <a:off x="13226428" y="6792673"/>
            <a:ext cx="75510" cy="487139"/>
            <a:chOff x="11998459" y="6162188"/>
            <a:chExt cx="68500" cy="441925"/>
          </a:xfrm>
        </p:grpSpPr>
        <p:sp>
          <p:nvSpPr>
            <p:cNvPr id="8" name="Google Shape;37;p40">
              <a:extLst>
                <a:ext uri="{FF2B5EF4-FFF2-40B4-BE49-F238E27FC236}">
                  <a16:creationId xmlns:a16="http://schemas.microsoft.com/office/drawing/2014/main" id="{EA80B92E-3B36-97BC-4D57-7347B591B62F}"/>
                </a:ext>
              </a:extLst>
            </p:cNvPr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8;p40">
              <a:extLst>
                <a:ext uri="{FF2B5EF4-FFF2-40B4-BE49-F238E27FC236}">
                  <a16:creationId xmlns:a16="http://schemas.microsoft.com/office/drawing/2014/main" id="{4995F9A6-17AD-A39B-8EA7-0DE7FBFF28FE}"/>
                </a:ext>
              </a:extLst>
            </p:cNvPr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9;p40">
              <a:extLst>
                <a:ext uri="{FF2B5EF4-FFF2-40B4-BE49-F238E27FC236}">
                  <a16:creationId xmlns:a16="http://schemas.microsoft.com/office/drawing/2014/main" id="{34E53C25-2166-CAC6-9E8F-A0BE178603EB}"/>
                </a:ext>
              </a:extLst>
            </p:cNvPr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0;p40">
              <a:extLst>
                <a:ext uri="{FF2B5EF4-FFF2-40B4-BE49-F238E27FC236}">
                  <a16:creationId xmlns:a16="http://schemas.microsoft.com/office/drawing/2014/main" id="{5B114610-DBFE-CDA2-3B7A-F0C2EE7DB0A5}"/>
                </a:ext>
              </a:extLst>
            </p:cNvPr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1;p40">
              <a:extLst>
                <a:ext uri="{FF2B5EF4-FFF2-40B4-BE49-F238E27FC236}">
                  <a16:creationId xmlns:a16="http://schemas.microsoft.com/office/drawing/2014/main" id="{7D0C0229-5440-8189-5503-5D9E544B57CA}"/>
                </a:ext>
              </a:extLst>
            </p:cNvPr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2;p40">
              <a:extLst>
                <a:ext uri="{FF2B5EF4-FFF2-40B4-BE49-F238E27FC236}">
                  <a16:creationId xmlns:a16="http://schemas.microsoft.com/office/drawing/2014/main" id="{FC619FBD-843D-EBA5-67AB-147D3A892EE3}"/>
                </a:ext>
              </a:extLst>
            </p:cNvPr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3;p40">
              <a:extLst>
                <a:ext uri="{FF2B5EF4-FFF2-40B4-BE49-F238E27FC236}">
                  <a16:creationId xmlns:a16="http://schemas.microsoft.com/office/drawing/2014/main" id="{CCC34957-9A7C-0763-8B57-5A07BF04DFF2}"/>
                </a:ext>
              </a:extLst>
            </p:cNvPr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4;p40">
              <a:extLst>
                <a:ext uri="{FF2B5EF4-FFF2-40B4-BE49-F238E27FC236}">
                  <a16:creationId xmlns:a16="http://schemas.microsoft.com/office/drawing/2014/main" id="{AFA1F52E-53BE-E294-409A-0652228C6A15}"/>
                </a:ext>
              </a:extLst>
            </p:cNvPr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5;p40">
              <a:extLst>
                <a:ext uri="{FF2B5EF4-FFF2-40B4-BE49-F238E27FC236}">
                  <a16:creationId xmlns:a16="http://schemas.microsoft.com/office/drawing/2014/main" id="{E3E692E2-49D9-5C5D-0473-3946E393C3DF}"/>
                </a:ext>
              </a:extLst>
            </p:cNvPr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6;p40">
              <a:extLst>
                <a:ext uri="{FF2B5EF4-FFF2-40B4-BE49-F238E27FC236}">
                  <a16:creationId xmlns:a16="http://schemas.microsoft.com/office/drawing/2014/main" id="{3184E9C6-3ECC-49EC-2BCB-E2FD9A3F5F76}"/>
                </a:ext>
              </a:extLst>
            </p:cNvPr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7;p40">
              <a:extLst>
                <a:ext uri="{FF2B5EF4-FFF2-40B4-BE49-F238E27FC236}">
                  <a16:creationId xmlns:a16="http://schemas.microsoft.com/office/drawing/2014/main" id="{44E2B659-1506-7949-0B17-5E4459601EB9}"/>
                </a:ext>
              </a:extLst>
            </p:cNvPr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8;p40">
              <a:extLst>
                <a:ext uri="{FF2B5EF4-FFF2-40B4-BE49-F238E27FC236}">
                  <a16:creationId xmlns:a16="http://schemas.microsoft.com/office/drawing/2014/main" id="{CC6ED06C-97E6-48AB-E9A5-1D80DD743E7B}"/>
                </a:ext>
              </a:extLst>
            </p:cNvPr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;p40">
              <a:extLst>
                <a:ext uri="{FF2B5EF4-FFF2-40B4-BE49-F238E27FC236}">
                  <a16:creationId xmlns:a16="http://schemas.microsoft.com/office/drawing/2014/main" id="{2820FE41-EED0-281E-DD24-13E298BB539A}"/>
                </a:ext>
              </a:extLst>
            </p:cNvPr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50;p40">
            <a:extLst>
              <a:ext uri="{FF2B5EF4-FFF2-40B4-BE49-F238E27FC236}">
                <a16:creationId xmlns:a16="http://schemas.microsoft.com/office/drawing/2014/main" id="{0CE85B7A-8B69-DC97-F849-280347C23F9A}"/>
              </a:ext>
            </a:extLst>
          </p:cNvPr>
          <p:cNvSpPr txBox="1"/>
          <p:nvPr userDrawn="1"/>
        </p:nvSpPr>
        <p:spPr>
          <a:xfrm rot="-5400000">
            <a:off x="12402461" y="5831938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4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5235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G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083310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148355-9A23-4C82-8F0E-F21594843C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3439775" cy="7559675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27F5F1-6E1A-43D9-B04D-DEEBA03354E7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3878A702-A86E-4356-99F5-6CC007B3A84C}"/>
              </a:ext>
            </a:extLst>
          </p:cNvPr>
          <p:cNvGrpSpPr/>
          <p:nvPr userDrawn="1"/>
        </p:nvGrpSpPr>
        <p:grpSpPr>
          <a:xfrm>
            <a:off x="13226426" y="6792671"/>
            <a:ext cx="75511" cy="487139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5A2218-59DA-4B99-8DEE-5DF1044A636F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E8F166A-EB8B-4235-A114-5C9D062319D5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2FC6C6B-C81D-4FE7-9F3B-65F6B734168D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8EBE5-A780-49FB-9EAB-A8F48E23FAC5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DB921C-741F-494D-9C24-2E06B3F237E1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CBAA18-CC04-464C-B2DA-F60F1DFE63B3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7D25102-BF68-4480-830D-1A1BE174C734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E8638F-0CD8-4C03-9847-FAF25CBB620A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481A8A-8F5D-40BC-B59F-D4CEF2254BB7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50965BC-1532-45A0-8F0A-37DAEC7BBE6F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C1AF2FC-06E9-481D-AAD4-A185594C60F4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1342B2-AEC9-4B66-9503-4CFC2ED0B897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41AC723-9EBC-48CA-B1C7-D2D5419421B0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4" name="Copyright">
            <a:extLst>
              <a:ext uri="{FF2B5EF4-FFF2-40B4-BE49-F238E27FC236}">
                <a16:creationId xmlns:a16="http://schemas.microsoft.com/office/drawing/2014/main" id="{2B7A128F-26DE-473C-95DA-CCAF4D373141}"/>
              </a:ext>
            </a:extLst>
          </p:cNvPr>
          <p:cNvSpPr txBox="1"/>
          <p:nvPr userDrawn="1"/>
        </p:nvSpPr>
        <p:spPr>
          <a:xfrm rot="16200000">
            <a:off x="12396100" y="5831937"/>
            <a:ext cx="1740861" cy="12214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82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1F99190-1A65-41A8-BBA7-98BD441A8C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099" y="7127143"/>
            <a:ext cx="166103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0D61507-3612-4ECE-96B7-0F9C15D34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DF673-966E-4DCD-9A9F-89CC749ED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4"/>
            <a:ext cx="12224961" cy="461403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2221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41011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E2B9A3-0AB0-4FA9-BE30-99B8A88EB1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8967305" y="-1"/>
            <a:ext cx="4475269" cy="7559676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430" y="7104744"/>
            <a:ext cx="166104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7BD8F9-1D4E-4291-8770-E69192472F2F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767490F9-4012-46F8-ABED-EB2AEB970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0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BFAF012-FF52-4660-B1EB-E3DAD4E5D0D9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0"/>
            <a:chOff x="11979436" y="4529724"/>
            <a:chExt cx="110809" cy="204771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63A8AA3-AFD6-4F1D-95AB-D3C5F7E6A748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1A09B8-B6D7-496D-AC8E-E2CC99E1F047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7B1E538-1876-4C5E-8612-52D93329CC93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BEB775BB-2E5F-4B32-9B48-8DE1DD506FB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DF313EF-4694-4121-BF30-C1139E1F9D1C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F3BB4C7-5441-4DAF-B428-07833129A3C4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ADF2282-0F9C-41BD-8919-3F118F7AFA19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07EBF3C-B087-4F18-8637-DB3F73785049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FE95DEE8-DE4E-456F-B56B-0D9C34409112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4E317DF-5709-4B5E-A764-DBE2AC16DCAC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BAA8A11-8055-4872-829E-9B4ACFB0448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F3D0752F-4BE1-4DEA-9A91-C12628B9D905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27F6B00-C84C-430B-B7C2-DFB7384C7332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86C1E6A-A2B0-4B52-82F6-EA7C2BB679FC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7" name="Copyright">
              <a:extLst>
                <a:ext uri="{FF2B5EF4-FFF2-40B4-BE49-F238E27FC236}">
                  <a16:creationId xmlns:a16="http://schemas.microsoft.com/office/drawing/2014/main" id="{6F9ADEBF-B227-47BA-9FFB-3881EE358DB3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6CAC9C2-9DC0-4151-8814-3516E0ADB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7784402" cy="46550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416183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lu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F88C4-2B8F-234B-8137-AE1FB53249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111400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F88C4-2B8F-234B-8137-AE1FB5324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2C367-8056-426B-81B2-4B2C7238E5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2CE3DA-88E4-1842-8B01-A41F4FDEB96D}"/>
              </a:ext>
            </a:extLst>
          </p:cNvPr>
          <p:cNvSpPr/>
          <p:nvPr userDrawn="1"/>
        </p:nvSpPr>
        <p:spPr>
          <a:xfrm>
            <a:off x="6719888" y="-1"/>
            <a:ext cx="6722686" cy="7559676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05E0D-AB4A-FA48-B246-B9BE74833D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430" y="7104744"/>
            <a:ext cx="166104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C5468B-3210-455B-960F-ACC92937B434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9F423ED-15C9-4DBA-A5CC-A74A55A44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23CBF1-457C-4491-90EE-6DE3BD9C2B8C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0"/>
            <a:chOff x="11979436" y="4529724"/>
            <a:chExt cx="110809" cy="2047718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C5D61D5-4D53-4B2F-830C-7C2D09806F8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4918B8-A176-47C4-9264-39A91C78CD7E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3201241E-6654-4B58-A757-746A35947F4F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C0D2E0D-CECA-462E-BAF3-CF92D72544E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A50CAD15-5BF3-4472-BDB9-3E3E4742DD6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C3511C1-3179-44B4-BB52-D2B10DA8A6E2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7DD1BCC-9230-417B-A5CC-E1D3F6F6104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7A77373-FE9B-46C2-BEB4-F8B0A94BD53E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B8ABB54-E991-461F-9791-D895B90E6700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773B4D2-2297-4AFE-A952-85F190728CC5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052044D-7360-4930-ACEF-75B0996C9E4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8EE721A-1842-4613-97C0-83F42E192EFE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4EC6AA-4D0D-4D6B-A317-D59028CD1190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33B47ABB-E212-4C3A-93F4-8ECF298B2F14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8" name="Copyright">
              <a:extLst>
                <a:ext uri="{FF2B5EF4-FFF2-40B4-BE49-F238E27FC236}">
                  <a16:creationId xmlns:a16="http://schemas.microsoft.com/office/drawing/2014/main" id="{63A391B4-F2D4-4CEA-BB2D-6FE9C17F564E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3E1D190-1D55-4D58-B05F-8B0C78FE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0" y="617945"/>
            <a:ext cx="5647916" cy="92268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936332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112576"/>
              </p:ext>
            </p:extLst>
          </p:nvPr>
        </p:nvGraphicFramePr>
        <p:xfrm>
          <a:off x="2335" y="1751"/>
          <a:ext cx="233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35" y="1751"/>
                        <a:ext cx="233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614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9A2C76-32EA-4992-A965-D9260A5D16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39775" cy="75596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82E60DA-1F02-9A45-8CE9-6CC78A3380F0}"/>
              </a:ext>
            </a:extLst>
          </p:cNvPr>
          <p:cNvSpPr/>
          <p:nvPr userDrawn="1"/>
        </p:nvSpPr>
        <p:spPr>
          <a:xfrm>
            <a:off x="1" y="0"/>
            <a:ext cx="2957133" cy="7559675"/>
          </a:xfrm>
          <a:prstGeom prst="rect">
            <a:avLst/>
          </a:prstGeom>
          <a:solidFill>
            <a:schemeClr val="bg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93BD1C-9237-8249-950A-62A7C86034D0}"/>
              </a:ext>
            </a:extLst>
          </p:cNvPr>
          <p:cNvSpPr/>
          <p:nvPr userDrawn="1"/>
        </p:nvSpPr>
        <p:spPr>
          <a:xfrm>
            <a:off x="0" y="4079076"/>
            <a:ext cx="10375275" cy="266163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55000">
                <a:srgbClr val="385ED2"/>
              </a:gs>
              <a:gs pos="76000">
                <a:schemeClr val="tx2">
                  <a:lumMod val="75000"/>
                  <a:lumOff val="25000"/>
                  <a:alpha val="90000"/>
                </a:scheme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IN" sz="1543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079" y="4528790"/>
            <a:ext cx="9364299" cy="1730259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80000"/>
              </a:lnSpc>
              <a:defRPr lang="en-US" sz="6614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4D7170-2B51-4AFC-B047-0F5B3A69E471}"/>
              </a:ext>
            </a:extLst>
          </p:cNvPr>
          <p:cNvGrpSpPr/>
          <p:nvPr userDrawn="1"/>
        </p:nvGrpSpPr>
        <p:grpSpPr>
          <a:xfrm>
            <a:off x="13226426" y="6792671"/>
            <a:ext cx="75511" cy="487139"/>
            <a:chOff x="11998459" y="6162188"/>
            <a:chExt cx="68500" cy="441924"/>
          </a:xfrm>
          <a:solidFill>
            <a:schemeClr val="bg1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DD1615D-0D55-4B48-87A2-0F30A4E3D8E7}"/>
                </a:ext>
              </a:extLst>
            </p:cNvPr>
            <p:cNvSpPr/>
            <p:nvPr/>
          </p:nvSpPr>
          <p:spPr>
            <a:xfrm rot="16200000">
              <a:off x="12063068" y="6476346"/>
              <a:ext cx="17" cy="1717"/>
            </a:xfrm>
            <a:custGeom>
              <a:avLst/>
              <a:gdLst>
                <a:gd name="connsiteX0" fmla="*/ 0 w 17"/>
                <a:gd name="connsiteY0" fmla="*/ 0 h 1717"/>
                <a:gd name="connsiteX1" fmla="*/ 17 w 17"/>
                <a:gd name="connsiteY1" fmla="*/ 0 h 1717"/>
                <a:gd name="connsiteX2" fmla="*/ 17 w 17"/>
                <a:gd name="connsiteY2" fmla="*/ 0 h 1717"/>
                <a:gd name="connsiteX3" fmla="*/ 0 w 17"/>
                <a:gd name="connsiteY3" fmla="*/ 0 h 1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" h="1717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8D3D7F-D19B-49DE-9CB3-221A0639516B}"/>
                </a:ext>
              </a:extLst>
            </p:cNvPr>
            <p:cNvSpPr/>
            <p:nvPr/>
          </p:nvSpPr>
          <p:spPr>
            <a:xfrm rot="16200000">
              <a:off x="12023737" y="6455896"/>
              <a:ext cx="453" cy="271"/>
            </a:xfrm>
            <a:custGeom>
              <a:avLst/>
              <a:gdLst>
                <a:gd name="connsiteX0" fmla="*/ 0 w 453"/>
                <a:gd name="connsiteY0" fmla="*/ 0 h 271"/>
                <a:gd name="connsiteX1" fmla="*/ 447 w 453"/>
                <a:gd name="connsiteY1" fmla="*/ 240 h 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" h="271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0BC6AD-EFFB-4263-A0EB-5A8265D4385C}"/>
                </a:ext>
              </a:extLst>
            </p:cNvPr>
            <p:cNvSpPr/>
            <p:nvPr/>
          </p:nvSpPr>
          <p:spPr>
            <a:xfrm rot="16200000">
              <a:off x="12023907" y="6477766"/>
              <a:ext cx="15" cy="76"/>
            </a:xfrm>
            <a:custGeom>
              <a:avLst/>
              <a:gdLst>
                <a:gd name="connsiteX0" fmla="*/ 15 w 15"/>
                <a:gd name="connsiteY0" fmla="*/ 38 h 76"/>
                <a:gd name="connsiteX1" fmla="*/ 15 w 15"/>
                <a:gd name="connsiteY1" fmla="*/ 38 h 76"/>
                <a:gd name="connsiteX2" fmla="*/ 15 w 15"/>
                <a:gd name="connsiteY2" fmla="*/ 38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" h="76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341753F-E8F7-47E2-8A08-516073C6B573}"/>
                </a:ext>
              </a:extLst>
            </p:cNvPr>
            <p:cNvSpPr/>
            <p:nvPr/>
          </p:nvSpPr>
          <p:spPr>
            <a:xfrm rot="16200000">
              <a:off x="12021636" y="6473651"/>
              <a:ext cx="261" cy="103"/>
            </a:xfrm>
            <a:custGeom>
              <a:avLst/>
              <a:gdLst>
                <a:gd name="connsiteX0" fmla="*/ 262 w 261"/>
                <a:gd name="connsiteY0" fmla="*/ 0 h 103"/>
                <a:gd name="connsiteX1" fmla="*/ 56 w 261"/>
                <a:gd name="connsiteY1" fmla="*/ 103 h 103"/>
                <a:gd name="connsiteX2" fmla="*/ 56 w 261"/>
                <a:gd name="connsiteY2" fmla="*/ 103 h 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" h="103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3E2B82A-AA52-459B-A885-2C9E46A7CA08}"/>
                </a:ext>
              </a:extLst>
            </p:cNvPr>
            <p:cNvSpPr/>
            <p:nvPr/>
          </p:nvSpPr>
          <p:spPr>
            <a:xfrm rot="16200000">
              <a:off x="12015635" y="6442208"/>
              <a:ext cx="51323" cy="51323"/>
            </a:xfrm>
            <a:custGeom>
              <a:avLst/>
              <a:gdLst>
                <a:gd name="connsiteX0" fmla="*/ 25662 w 51323"/>
                <a:gd name="connsiteY0" fmla="*/ 0 h 51323"/>
                <a:gd name="connsiteX1" fmla="*/ 0 w 51323"/>
                <a:gd name="connsiteY1" fmla="*/ 25662 h 51323"/>
                <a:gd name="connsiteX2" fmla="*/ 25662 w 51323"/>
                <a:gd name="connsiteY2" fmla="*/ 51323 h 51323"/>
                <a:gd name="connsiteX3" fmla="*/ 51324 w 51323"/>
                <a:gd name="connsiteY3" fmla="*/ 25662 h 51323"/>
                <a:gd name="connsiteX4" fmla="*/ 51324 w 51323"/>
                <a:gd name="connsiteY4" fmla="*/ 25610 h 51323"/>
                <a:gd name="connsiteX5" fmla="*/ 25679 w 51323"/>
                <a:gd name="connsiteY5" fmla="*/ 0 h 51323"/>
                <a:gd name="connsiteX6" fmla="*/ 25662 w 51323"/>
                <a:gd name="connsiteY6" fmla="*/ 0 h 51323"/>
                <a:gd name="connsiteX7" fmla="*/ 26967 w 51323"/>
                <a:gd name="connsiteY7" fmla="*/ 15648 h 51323"/>
                <a:gd name="connsiteX8" fmla="*/ 26967 w 51323"/>
                <a:gd name="connsiteY8" fmla="*/ 15837 h 51323"/>
                <a:gd name="connsiteX9" fmla="*/ 26744 w 51323"/>
                <a:gd name="connsiteY9" fmla="*/ 15837 h 51323"/>
                <a:gd name="connsiteX10" fmla="*/ 26933 w 51323"/>
                <a:gd name="connsiteY10" fmla="*/ 16163 h 51323"/>
                <a:gd name="connsiteX11" fmla="*/ 27036 w 51323"/>
                <a:gd name="connsiteY11" fmla="*/ 16163 h 51323"/>
                <a:gd name="connsiteX12" fmla="*/ 27294 w 51323"/>
                <a:gd name="connsiteY12" fmla="*/ 16489 h 51323"/>
                <a:gd name="connsiteX13" fmla="*/ 27294 w 51323"/>
                <a:gd name="connsiteY13" fmla="*/ 16489 h 51323"/>
                <a:gd name="connsiteX14" fmla="*/ 27294 w 51323"/>
                <a:gd name="connsiteY14" fmla="*/ 16489 h 51323"/>
                <a:gd name="connsiteX15" fmla="*/ 27294 w 51323"/>
                <a:gd name="connsiteY15" fmla="*/ 16489 h 51323"/>
                <a:gd name="connsiteX16" fmla="*/ 27156 w 51323"/>
                <a:gd name="connsiteY16" fmla="*/ 16489 h 51323"/>
                <a:gd name="connsiteX17" fmla="*/ 27156 w 51323"/>
                <a:gd name="connsiteY17" fmla="*/ 16593 h 51323"/>
                <a:gd name="connsiteX18" fmla="*/ 27156 w 51323"/>
                <a:gd name="connsiteY18" fmla="*/ 16593 h 51323"/>
                <a:gd name="connsiteX19" fmla="*/ 27379 w 51323"/>
                <a:gd name="connsiteY19" fmla="*/ 16593 h 51323"/>
                <a:gd name="connsiteX20" fmla="*/ 27276 w 51323"/>
                <a:gd name="connsiteY20" fmla="*/ 16799 h 51323"/>
                <a:gd name="connsiteX21" fmla="*/ 26744 w 51323"/>
                <a:gd name="connsiteY21" fmla="*/ 16799 h 51323"/>
                <a:gd name="connsiteX22" fmla="*/ 26074 w 51323"/>
                <a:gd name="connsiteY22" fmla="*/ 16902 h 51323"/>
                <a:gd name="connsiteX23" fmla="*/ 25868 w 51323"/>
                <a:gd name="connsiteY23" fmla="*/ 16988 h 51323"/>
                <a:gd name="connsiteX24" fmla="*/ 25559 w 51323"/>
                <a:gd name="connsiteY24" fmla="*/ 17142 h 51323"/>
                <a:gd name="connsiteX25" fmla="*/ 25404 w 51323"/>
                <a:gd name="connsiteY25" fmla="*/ 17142 h 51323"/>
                <a:gd name="connsiteX26" fmla="*/ 25816 w 51323"/>
                <a:gd name="connsiteY26" fmla="*/ 16764 h 51323"/>
                <a:gd name="connsiteX27" fmla="*/ 26194 w 51323"/>
                <a:gd name="connsiteY27" fmla="*/ 16764 h 51323"/>
                <a:gd name="connsiteX28" fmla="*/ 26349 w 51323"/>
                <a:gd name="connsiteY28" fmla="*/ 16541 h 51323"/>
                <a:gd name="connsiteX29" fmla="*/ 26005 w 51323"/>
                <a:gd name="connsiteY29" fmla="*/ 16627 h 51323"/>
                <a:gd name="connsiteX30" fmla="*/ 25902 w 51323"/>
                <a:gd name="connsiteY30" fmla="*/ 16627 h 51323"/>
                <a:gd name="connsiteX31" fmla="*/ 25662 w 51323"/>
                <a:gd name="connsiteY31" fmla="*/ 16627 h 51323"/>
                <a:gd name="connsiteX32" fmla="*/ 25662 w 51323"/>
                <a:gd name="connsiteY32" fmla="*/ 16627 h 51323"/>
                <a:gd name="connsiteX33" fmla="*/ 25662 w 51323"/>
                <a:gd name="connsiteY33" fmla="*/ 16627 h 51323"/>
                <a:gd name="connsiteX34" fmla="*/ 26005 w 51323"/>
                <a:gd name="connsiteY34" fmla="*/ 16215 h 51323"/>
                <a:gd name="connsiteX35" fmla="*/ 25834 w 51323"/>
                <a:gd name="connsiteY35" fmla="*/ 16215 h 51323"/>
                <a:gd name="connsiteX36" fmla="*/ 26297 w 51323"/>
                <a:gd name="connsiteY36" fmla="*/ 16060 h 51323"/>
                <a:gd name="connsiteX37" fmla="*/ 26297 w 51323"/>
                <a:gd name="connsiteY37" fmla="*/ 16060 h 51323"/>
                <a:gd name="connsiteX38" fmla="*/ 26297 w 51323"/>
                <a:gd name="connsiteY38" fmla="*/ 15785 h 51323"/>
                <a:gd name="connsiteX39" fmla="*/ 26194 w 51323"/>
                <a:gd name="connsiteY39" fmla="*/ 15785 h 51323"/>
                <a:gd name="connsiteX40" fmla="*/ 26194 w 51323"/>
                <a:gd name="connsiteY40" fmla="*/ 15785 h 51323"/>
                <a:gd name="connsiteX41" fmla="*/ 26194 w 51323"/>
                <a:gd name="connsiteY41" fmla="*/ 15493 h 51323"/>
                <a:gd name="connsiteX42" fmla="*/ 25834 w 51323"/>
                <a:gd name="connsiteY42" fmla="*/ 15493 h 51323"/>
                <a:gd name="connsiteX43" fmla="*/ 25834 w 51323"/>
                <a:gd name="connsiteY43" fmla="*/ 15596 h 51323"/>
                <a:gd name="connsiteX44" fmla="*/ 25713 w 51323"/>
                <a:gd name="connsiteY44" fmla="*/ 15596 h 51323"/>
                <a:gd name="connsiteX45" fmla="*/ 25713 w 51323"/>
                <a:gd name="connsiteY45" fmla="*/ 15459 h 51323"/>
                <a:gd name="connsiteX46" fmla="*/ 25713 w 51323"/>
                <a:gd name="connsiteY46" fmla="*/ 15459 h 51323"/>
                <a:gd name="connsiteX47" fmla="*/ 25816 w 51323"/>
                <a:gd name="connsiteY47" fmla="*/ 15236 h 51323"/>
                <a:gd name="connsiteX48" fmla="*/ 25816 w 51323"/>
                <a:gd name="connsiteY48" fmla="*/ 15064 h 51323"/>
                <a:gd name="connsiteX49" fmla="*/ 25816 w 51323"/>
                <a:gd name="connsiteY49" fmla="*/ 14961 h 51323"/>
                <a:gd name="connsiteX50" fmla="*/ 25816 w 51323"/>
                <a:gd name="connsiteY50" fmla="*/ 15081 h 51323"/>
                <a:gd name="connsiteX51" fmla="*/ 25816 w 51323"/>
                <a:gd name="connsiteY51" fmla="*/ 15081 h 51323"/>
                <a:gd name="connsiteX52" fmla="*/ 25816 w 51323"/>
                <a:gd name="connsiteY52" fmla="*/ 15081 h 51323"/>
                <a:gd name="connsiteX53" fmla="*/ 25816 w 51323"/>
                <a:gd name="connsiteY53" fmla="*/ 15081 h 51323"/>
                <a:gd name="connsiteX54" fmla="*/ 25816 w 51323"/>
                <a:gd name="connsiteY54" fmla="*/ 15356 h 51323"/>
                <a:gd name="connsiteX55" fmla="*/ 25816 w 51323"/>
                <a:gd name="connsiteY55" fmla="*/ 15167 h 51323"/>
                <a:gd name="connsiteX56" fmla="*/ 25919 w 51323"/>
                <a:gd name="connsiteY56" fmla="*/ 14823 h 51323"/>
                <a:gd name="connsiteX57" fmla="*/ 25919 w 51323"/>
                <a:gd name="connsiteY57" fmla="*/ 14823 h 51323"/>
                <a:gd name="connsiteX58" fmla="*/ 25731 w 51323"/>
                <a:gd name="connsiteY58" fmla="*/ 14823 h 51323"/>
                <a:gd name="connsiteX59" fmla="*/ 25731 w 51323"/>
                <a:gd name="connsiteY59" fmla="*/ 14823 h 51323"/>
                <a:gd name="connsiteX60" fmla="*/ 25868 w 51323"/>
                <a:gd name="connsiteY60" fmla="*/ 14737 h 51323"/>
                <a:gd name="connsiteX61" fmla="*/ 25868 w 51323"/>
                <a:gd name="connsiteY61" fmla="*/ 14737 h 51323"/>
                <a:gd name="connsiteX62" fmla="*/ 25868 w 51323"/>
                <a:gd name="connsiteY62" fmla="*/ 14737 h 51323"/>
                <a:gd name="connsiteX63" fmla="*/ 25868 w 51323"/>
                <a:gd name="connsiteY63" fmla="*/ 14737 h 51323"/>
                <a:gd name="connsiteX64" fmla="*/ 25868 w 51323"/>
                <a:gd name="connsiteY64" fmla="*/ 14737 h 51323"/>
                <a:gd name="connsiteX65" fmla="*/ 25868 w 51323"/>
                <a:gd name="connsiteY65" fmla="*/ 14737 h 51323"/>
                <a:gd name="connsiteX66" fmla="*/ 25868 w 51323"/>
                <a:gd name="connsiteY66" fmla="*/ 14652 h 51323"/>
                <a:gd name="connsiteX67" fmla="*/ 25868 w 51323"/>
                <a:gd name="connsiteY67" fmla="*/ 14652 h 51323"/>
                <a:gd name="connsiteX68" fmla="*/ 25868 w 51323"/>
                <a:gd name="connsiteY68" fmla="*/ 14514 h 51323"/>
                <a:gd name="connsiteX69" fmla="*/ 25868 w 51323"/>
                <a:gd name="connsiteY69" fmla="*/ 14514 h 51323"/>
                <a:gd name="connsiteX70" fmla="*/ 25868 w 51323"/>
                <a:gd name="connsiteY70" fmla="*/ 14514 h 51323"/>
                <a:gd name="connsiteX71" fmla="*/ 25971 w 51323"/>
                <a:gd name="connsiteY71" fmla="*/ 14514 h 51323"/>
                <a:gd name="connsiteX72" fmla="*/ 25971 w 51323"/>
                <a:gd name="connsiteY72" fmla="*/ 14428 h 51323"/>
                <a:gd name="connsiteX73" fmla="*/ 26126 w 51323"/>
                <a:gd name="connsiteY73" fmla="*/ 14291 h 51323"/>
                <a:gd name="connsiteX74" fmla="*/ 26126 w 51323"/>
                <a:gd name="connsiteY74" fmla="*/ 14291 h 51323"/>
                <a:gd name="connsiteX75" fmla="*/ 26126 w 51323"/>
                <a:gd name="connsiteY75" fmla="*/ 14531 h 51323"/>
                <a:gd name="connsiteX76" fmla="*/ 26126 w 51323"/>
                <a:gd name="connsiteY76" fmla="*/ 14531 h 51323"/>
                <a:gd name="connsiteX77" fmla="*/ 26486 w 51323"/>
                <a:gd name="connsiteY77" fmla="*/ 14531 h 51323"/>
                <a:gd name="connsiteX78" fmla="*/ 26263 w 51323"/>
                <a:gd name="connsiteY78" fmla="*/ 14995 h 51323"/>
                <a:gd name="connsiteX79" fmla="*/ 26263 w 51323"/>
                <a:gd name="connsiteY79" fmla="*/ 14995 h 51323"/>
                <a:gd name="connsiteX80" fmla="*/ 26005 w 51323"/>
                <a:gd name="connsiteY80" fmla="*/ 14995 h 51323"/>
                <a:gd name="connsiteX81" fmla="*/ 26224 w 51323"/>
                <a:gd name="connsiteY81" fmla="*/ 15000 h 51323"/>
                <a:gd name="connsiteX82" fmla="*/ 26229 w 51323"/>
                <a:gd name="connsiteY82" fmla="*/ 14995 h 51323"/>
                <a:gd name="connsiteX83" fmla="*/ 26589 w 51323"/>
                <a:gd name="connsiteY83" fmla="*/ 15579 h 51323"/>
                <a:gd name="connsiteX84" fmla="*/ 26967 w 51323"/>
                <a:gd name="connsiteY84" fmla="*/ 15613 h 51323"/>
                <a:gd name="connsiteX85" fmla="*/ 18138 w 51323"/>
                <a:gd name="connsiteY85" fmla="*/ 47476 h 51323"/>
                <a:gd name="connsiteX86" fmla="*/ 18138 w 51323"/>
                <a:gd name="connsiteY86" fmla="*/ 47476 h 51323"/>
                <a:gd name="connsiteX87" fmla="*/ 18138 w 51323"/>
                <a:gd name="connsiteY87" fmla="*/ 47476 h 51323"/>
                <a:gd name="connsiteX88" fmla="*/ 18138 w 51323"/>
                <a:gd name="connsiteY88" fmla="*/ 47476 h 51323"/>
                <a:gd name="connsiteX89" fmla="*/ 18224 w 51323"/>
                <a:gd name="connsiteY89" fmla="*/ 47476 h 51323"/>
                <a:gd name="connsiteX90" fmla="*/ 18224 w 51323"/>
                <a:gd name="connsiteY90" fmla="*/ 47476 h 51323"/>
                <a:gd name="connsiteX91" fmla="*/ 17984 w 51323"/>
                <a:gd name="connsiteY91" fmla="*/ 47338 h 51323"/>
                <a:gd name="connsiteX92" fmla="*/ 17984 w 51323"/>
                <a:gd name="connsiteY92" fmla="*/ 47338 h 51323"/>
                <a:gd name="connsiteX93" fmla="*/ 17984 w 51323"/>
                <a:gd name="connsiteY93" fmla="*/ 47338 h 51323"/>
                <a:gd name="connsiteX94" fmla="*/ 18070 w 51323"/>
                <a:gd name="connsiteY94" fmla="*/ 47338 h 51323"/>
                <a:gd name="connsiteX95" fmla="*/ 18070 w 51323"/>
                <a:gd name="connsiteY95" fmla="*/ 47338 h 51323"/>
                <a:gd name="connsiteX96" fmla="*/ 18070 w 51323"/>
                <a:gd name="connsiteY96" fmla="*/ 47338 h 51323"/>
                <a:gd name="connsiteX97" fmla="*/ 17795 w 51323"/>
                <a:gd name="connsiteY97" fmla="*/ 47218 h 51323"/>
                <a:gd name="connsiteX98" fmla="*/ 17795 w 51323"/>
                <a:gd name="connsiteY98" fmla="*/ 47218 h 51323"/>
                <a:gd name="connsiteX99" fmla="*/ 17795 w 51323"/>
                <a:gd name="connsiteY99" fmla="*/ 47218 h 51323"/>
                <a:gd name="connsiteX100" fmla="*/ 17692 w 51323"/>
                <a:gd name="connsiteY100" fmla="*/ 47218 h 51323"/>
                <a:gd name="connsiteX101" fmla="*/ 17692 w 51323"/>
                <a:gd name="connsiteY101" fmla="*/ 47218 h 51323"/>
                <a:gd name="connsiteX102" fmla="*/ 17692 w 51323"/>
                <a:gd name="connsiteY102" fmla="*/ 47218 h 51323"/>
                <a:gd name="connsiteX103" fmla="*/ 17692 w 51323"/>
                <a:gd name="connsiteY103" fmla="*/ 47218 h 51323"/>
                <a:gd name="connsiteX104" fmla="*/ 17864 w 51323"/>
                <a:gd name="connsiteY104" fmla="*/ 47218 h 51323"/>
                <a:gd name="connsiteX105" fmla="*/ 17658 w 51323"/>
                <a:gd name="connsiteY105" fmla="*/ 47218 h 51323"/>
                <a:gd name="connsiteX106" fmla="*/ 17658 w 51323"/>
                <a:gd name="connsiteY106" fmla="*/ 47218 h 51323"/>
                <a:gd name="connsiteX107" fmla="*/ 17417 w 51323"/>
                <a:gd name="connsiteY107" fmla="*/ 47115 h 51323"/>
                <a:gd name="connsiteX108" fmla="*/ 17417 w 51323"/>
                <a:gd name="connsiteY108" fmla="*/ 47115 h 51323"/>
                <a:gd name="connsiteX109" fmla="*/ 17417 w 51323"/>
                <a:gd name="connsiteY109" fmla="*/ 47115 h 51323"/>
                <a:gd name="connsiteX110" fmla="*/ 17280 w 51323"/>
                <a:gd name="connsiteY110" fmla="*/ 47115 h 51323"/>
                <a:gd name="connsiteX111" fmla="*/ 17469 w 51323"/>
                <a:gd name="connsiteY111" fmla="*/ 47218 h 51323"/>
                <a:gd name="connsiteX112" fmla="*/ 17194 w 51323"/>
                <a:gd name="connsiteY112" fmla="*/ 47081 h 51323"/>
                <a:gd name="connsiteX113" fmla="*/ 17194 w 51323"/>
                <a:gd name="connsiteY113" fmla="*/ 47081 h 51323"/>
                <a:gd name="connsiteX114" fmla="*/ 17366 w 51323"/>
                <a:gd name="connsiteY114" fmla="*/ 47081 h 51323"/>
                <a:gd name="connsiteX115" fmla="*/ 17228 w 51323"/>
                <a:gd name="connsiteY115" fmla="*/ 47081 h 51323"/>
                <a:gd name="connsiteX116" fmla="*/ 17366 w 51323"/>
                <a:gd name="connsiteY116" fmla="*/ 47081 h 51323"/>
                <a:gd name="connsiteX117" fmla="*/ 17108 w 51323"/>
                <a:gd name="connsiteY117" fmla="*/ 46961 h 51323"/>
                <a:gd name="connsiteX118" fmla="*/ 17108 w 51323"/>
                <a:gd name="connsiteY118" fmla="*/ 46961 h 51323"/>
                <a:gd name="connsiteX119" fmla="*/ 17005 w 51323"/>
                <a:gd name="connsiteY119" fmla="*/ 46961 h 51323"/>
                <a:gd name="connsiteX120" fmla="*/ 17005 w 51323"/>
                <a:gd name="connsiteY120" fmla="*/ 46961 h 51323"/>
                <a:gd name="connsiteX121" fmla="*/ 16782 w 51323"/>
                <a:gd name="connsiteY121" fmla="*/ 46858 h 51323"/>
                <a:gd name="connsiteX122" fmla="*/ 16782 w 51323"/>
                <a:gd name="connsiteY122" fmla="*/ 46858 h 51323"/>
                <a:gd name="connsiteX123" fmla="*/ 16696 w 51323"/>
                <a:gd name="connsiteY123" fmla="*/ 46858 h 51323"/>
                <a:gd name="connsiteX124" fmla="*/ 16696 w 51323"/>
                <a:gd name="connsiteY124" fmla="*/ 46858 h 51323"/>
                <a:gd name="connsiteX125" fmla="*/ 16301 w 51323"/>
                <a:gd name="connsiteY125" fmla="*/ 46651 h 51323"/>
                <a:gd name="connsiteX126" fmla="*/ 16301 w 51323"/>
                <a:gd name="connsiteY126" fmla="*/ 46651 h 51323"/>
                <a:gd name="connsiteX127" fmla="*/ 16129 w 51323"/>
                <a:gd name="connsiteY127" fmla="*/ 46548 h 51323"/>
                <a:gd name="connsiteX128" fmla="*/ 16283 w 51323"/>
                <a:gd name="connsiteY128" fmla="*/ 46651 h 51323"/>
                <a:gd name="connsiteX129" fmla="*/ 15940 w 51323"/>
                <a:gd name="connsiteY129" fmla="*/ 46462 h 51323"/>
                <a:gd name="connsiteX130" fmla="*/ 15940 w 51323"/>
                <a:gd name="connsiteY130" fmla="*/ 46462 h 51323"/>
                <a:gd name="connsiteX131" fmla="*/ 15837 w 51323"/>
                <a:gd name="connsiteY131" fmla="*/ 46462 h 51323"/>
                <a:gd name="connsiteX132" fmla="*/ 15837 w 51323"/>
                <a:gd name="connsiteY132" fmla="*/ 46462 h 51323"/>
                <a:gd name="connsiteX133" fmla="*/ 15665 w 51323"/>
                <a:gd name="connsiteY133" fmla="*/ 46359 h 51323"/>
                <a:gd name="connsiteX134" fmla="*/ 15665 w 51323"/>
                <a:gd name="connsiteY134" fmla="*/ 46359 h 51323"/>
                <a:gd name="connsiteX135" fmla="*/ 15665 w 51323"/>
                <a:gd name="connsiteY135" fmla="*/ 46359 h 51323"/>
                <a:gd name="connsiteX136" fmla="*/ 15665 w 51323"/>
                <a:gd name="connsiteY136" fmla="*/ 46359 h 51323"/>
                <a:gd name="connsiteX137" fmla="*/ 15510 w 51323"/>
                <a:gd name="connsiteY137" fmla="*/ 46274 h 51323"/>
                <a:gd name="connsiteX138" fmla="*/ 15510 w 51323"/>
                <a:gd name="connsiteY138" fmla="*/ 46274 h 51323"/>
                <a:gd name="connsiteX139" fmla="*/ 15339 w 51323"/>
                <a:gd name="connsiteY139" fmla="*/ 46153 h 51323"/>
                <a:gd name="connsiteX140" fmla="*/ 15339 w 51323"/>
                <a:gd name="connsiteY140" fmla="*/ 46153 h 51323"/>
                <a:gd name="connsiteX141" fmla="*/ 15201 w 51323"/>
                <a:gd name="connsiteY141" fmla="*/ 46153 h 51323"/>
                <a:gd name="connsiteX142" fmla="*/ 15201 w 51323"/>
                <a:gd name="connsiteY142" fmla="*/ 46153 h 51323"/>
                <a:gd name="connsiteX143" fmla="*/ 15081 w 51323"/>
                <a:gd name="connsiteY143" fmla="*/ 46153 h 51323"/>
                <a:gd name="connsiteX144" fmla="*/ 15081 w 51323"/>
                <a:gd name="connsiteY144" fmla="*/ 46153 h 51323"/>
                <a:gd name="connsiteX145" fmla="*/ 15218 w 51323"/>
                <a:gd name="connsiteY145" fmla="*/ 46239 h 51323"/>
                <a:gd name="connsiteX146" fmla="*/ 15081 w 51323"/>
                <a:gd name="connsiteY146" fmla="*/ 46153 h 51323"/>
                <a:gd name="connsiteX147" fmla="*/ 15081 w 51323"/>
                <a:gd name="connsiteY147" fmla="*/ 46153 h 51323"/>
                <a:gd name="connsiteX148" fmla="*/ 14961 w 51323"/>
                <a:gd name="connsiteY148" fmla="*/ 46153 h 51323"/>
                <a:gd name="connsiteX149" fmla="*/ 14961 w 51323"/>
                <a:gd name="connsiteY149" fmla="*/ 46153 h 51323"/>
                <a:gd name="connsiteX150" fmla="*/ 14823 w 51323"/>
                <a:gd name="connsiteY150" fmla="*/ 46067 h 51323"/>
                <a:gd name="connsiteX151" fmla="*/ 15012 w 51323"/>
                <a:gd name="connsiteY151" fmla="*/ 46170 h 51323"/>
                <a:gd name="connsiteX152" fmla="*/ 15184 w 51323"/>
                <a:gd name="connsiteY152" fmla="*/ 46274 h 51323"/>
                <a:gd name="connsiteX153" fmla="*/ 14720 w 51323"/>
                <a:gd name="connsiteY153" fmla="*/ 45947 h 51323"/>
                <a:gd name="connsiteX154" fmla="*/ 14720 w 51323"/>
                <a:gd name="connsiteY154" fmla="*/ 45947 h 51323"/>
                <a:gd name="connsiteX155" fmla="*/ 13879 w 51323"/>
                <a:gd name="connsiteY155" fmla="*/ 45312 h 51323"/>
                <a:gd name="connsiteX156" fmla="*/ 13982 w 51323"/>
                <a:gd name="connsiteY156" fmla="*/ 45312 h 51323"/>
                <a:gd name="connsiteX157" fmla="*/ 13827 w 51323"/>
                <a:gd name="connsiteY157" fmla="*/ 45191 h 51323"/>
                <a:gd name="connsiteX158" fmla="*/ 13827 w 51323"/>
                <a:gd name="connsiteY158" fmla="*/ 45191 h 51323"/>
                <a:gd name="connsiteX159" fmla="*/ 13724 w 51323"/>
                <a:gd name="connsiteY159" fmla="*/ 45191 h 51323"/>
                <a:gd name="connsiteX160" fmla="*/ 13724 w 51323"/>
                <a:gd name="connsiteY160" fmla="*/ 45191 h 51323"/>
                <a:gd name="connsiteX161" fmla="*/ 13724 w 51323"/>
                <a:gd name="connsiteY161" fmla="*/ 45191 h 51323"/>
                <a:gd name="connsiteX162" fmla="*/ 13724 w 51323"/>
                <a:gd name="connsiteY162" fmla="*/ 45191 h 51323"/>
                <a:gd name="connsiteX163" fmla="*/ 13106 w 51323"/>
                <a:gd name="connsiteY163" fmla="*/ 44710 h 51323"/>
                <a:gd name="connsiteX164" fmla="*/ 13106 w 51323"/>
                <a:gd name="connsiteY164" fmla="*/ 44710 h 51323"/>
                <a:gd name="connsiteX165" fmla="*/ 12316 w 51323"/>
                <a:gd name="connsiteY165" fmla="*/ 44023 h 51323"/>
                <a:gd name="connsiteX166" fmla="*/ 12316 w 51323"/>
                <a:gd name="connsiteY166" fmla="*/ 44023 h 51323"/>
                <a:gd name="connsiteX167" fmla="*/ 9567 w 51323"/>
                <a:gd name="connsiteY167" fmla="*/ 40434 h 51323"/>
                <a:gd name="connsiteX168" fmla="*/ 9567 w 51323"/>
                <a:gd name="connsiteY168" fmla="*/ 40434 h 51323"/>
                <a:gd name="connsiteX169" fmla="*/ 8021 w 51323"/>
                <a:gd name="connsiteY169" fmla="*/ 37788 h 51323"/>
                <a:gd name="connsiteX170" fmla="*/ 8021 w 51323"/>
                <a:gd name="connsiteY170" fmla="*/ 37788 h 51323"/>
                <a:gd name="connsiteX171" fmla="*/ 5840 w 51323"/>
                <a:gd name="connsiteY171" fmla="*/ 33494 h 51323"/>
                <a:gd name="connsiteX172" fmla="*/ 5840 w 51323"/>
                <a:gd name="connsiteY172" fmla="*/ 33580 h 51323"/>
                <a:gd name="connsiteX173" fmla="*/ 5840 w 51323"/>
                <a:gd name="connsiteY173" fmla="*/ 33477 h 51323"/>
                <a:gd name="connsiteX174" fmla="*/ 5840 w 51323"/>
                <a:gd name="connsiteY174" fmla="*/ 33614 h 51323"/>
                <a:gd name="connsiteX175" fmla="*/ 5222 w 51323"/>
                <a:gd name="connsiteY175" fmla="*/ 30299 h 51323"/>
                <a:gd name="connsiteX176" fmla="*/ 5222 w 51323"/>
                <a:gd name="connsiteY176" fmla="*/ 30042 h 51323"/>
                <a:gd name="connsiteX177" fmla="*/ 5222 w 51323"/>
                <a:gd name="connsiteY177" fmla="*/ 30128 h 51323"/>
                <a:gd name="connsiteX178" fmla="*/ 5067 w 51323"/>
                <a:gd name="connsiteY178" fmla="*/ 29784 h 51323"/>
                <a:gd name="connsiteX179" fmla="*/ 5067 w 51323"/>
                <a:gd name="connsiteY179" fmla="*/ 29784 h 51323"/>
                <a:gd name="connsiteX180" fmla="*/ 5067 w 51323"/>
                <a:gd name="connsiteY180" fmla="*/ 29784 h 51323"/>
                <a:gd name="connsiteX181" fmla="*/ 5067 w 51323"/>
                <a:gd name="connsiteY181" fmla="*/ 29544 h 51323"/>
                <a:gd name="connsiteX182" fmla="*/ 5067 w 51323"/>
                <a:gd name="connsiteY182" fmla="*/ 29715 h 51323"/>
                <a:gd name="connsiteX183" fmla="*/ 4844 w 51323"/>
                <a:gd name="connsiteY183" fmla="*/ 28908 h 51323"/>
                <a:gd name="connsiteX184" fmla="*/ 4844 w 51323"/>
                <a:gd name="connsiteY184" fmla="*/ 29183 h 51323"/>
                <a:gd name="connsiteX185" fmla="*/ 4552 w 51323"/>
                <a:gd name="connsiteY185" fmla="*/ 27843 h 51323"/>
                <a:gd name="connsiteX186" fmla="*/ 4552 w 51323"/>
                <a:gd name="connsiteY186" fmla="*/ 27740 h 51323"/>
                <a:gd name="connsiteX187" fmla="*/ 4552 w 51323"/>
                <a:gd name="connsiteY187" fmla="*/ 27740 h 51323"/>
                <a:gd name="connsiteX188" fmla="*/ 4552 w 51323"/>
                <a:gd name="connsiteY188" fmla="*/ 27740 h 51323"/>
                <a:gd name="connsiteX189" fmla="*/ 4552 w 51323"/>
                <a:gd name="connsiteY189" fmla="*/ 27740 h 51323"/>
                <a:gd name="connsiteX190" fmla="*/ 4208 w 51323"/>
                <a:gd name="connsiteY190" fmla="*/ 26297 h 51323"/>
                <a:gd name="connsiteX191" fmla="*/ 4208 w 51323"/>
                <a:gd name="connsiteY191" fmla="*/ 26503 h 51323"/>
                <a:gd name="connsiteX192" fmla="*/ 4208 w 51323"/>
                <a:gd name="connsiteY192" fmla="*/ 26297 h 51323"/>
                <a:gd name="connsiteX193" fmla="*/ 4208 w 51323"/>
                <a:gd name="connsiteY193" fmla="*/ 26297 h 51323"/>
                <a:gd name="connsiteX194" fmla="*/ 4208 w 51323"/>
                <a:gd name="connsiteY194" fmla="*/ 26297 h 51323"/>
                <a:gd name="connsiteX195" fmla="*/ 4208 w 51323"/>
                <a:gd name="connsiteY195" fmla="*/ 26297 h 51323"/>
                <a:gd name="connsiteX196" fmla="*/ 4208 w 51323"/>
                <a:gd name="connsiteY196" fmla="*/ 26297 h 51323"/>
                <a:gd name="connsiteX197" fmla="*/ 4208 w 51323"/>
                <a:gd name="connsiteY197" fmla="*/ 26400 h 51323"/>
                <a:gd name="connsiteX198" fmla="*/ 4208 w 51323"/>
                <a:gd name="connsiteY198" fmla="*/ 26400 h 51323"/>
                <a:gd name="connsiteX199" fmla="*/ 4208 w 51323"/>
                <a:gd name="connsiteY199" fmla="*/ 26400 h 51323"/>
                <a:gd name="connsiteX200" fmla="*/ 4208 w 51323"/>
                <a:gd name="connsiteY200" fmla="*/ 26400 h 51323"/>
                <a:gd name="connsiteX201" fmla="*/ 4208 w 51323"/>
                <a:gd name="connsiteY201" fmla="*/ 26091 h 51323"/>
                <a:gd name="connsiteX202" fmla="*/ 4208 w 51323"/>
                <a:gd name="connsiteY202" fmla="*/ 26091 h 51323"/>
                <a:gd name="connsiteX203" fmla="*/ 4208 w 51323"/>
                <a:gd name="connsiteY203" fmla="*/ 25919 h 51323"/>
                <a:gd name="connsiteX204" fmla="*/ 4208 w 51323"/>
                <a:gd name="connsiteY204" fmla="*/ 25919 h 51323"/>
                <a:gd name="connsiteX205" fmla="*/ 4208 w 51323"/>
                <a:gd name="connsiteY205" fmla="*/ 25198 h 51323"/>
                <a:gd name="connsiteX206" fmla="*/ 4208 w 51323"/>
                <a:gd name="connsiteY206" fmla="*/ 25198 h 51323"/>
                <a:gd name="connsiteX207" fmla="*/ 4208 w 51323"/>
                <a:gd name="connsiteY207" fmla="*/ 25078 h 51323"/>
                <a:gd name="connsiteX208" fmla="*/ 4208 w 51323"/>
                <a:gd name="connsiteY208" fmla="*/ 25078 h 51323"/>
                <a:gd name="connsiteX209" fmla="*/ 19787 w 51323"/>
                <a:gd name="connsiteY209" fmla="*/ 4706 h 51323"/>
                <a:gd name="connsiteX210" fmla="*/ 19787 w 51323"/>
                <a:gd name="connsiteY210" fmla="*/ 4706 h 51323"/>
                <a:gd name="connsiteX211" fmla="*/ 19994 w 51323"/>
                <a:gd name="connsiteY211" fmla="*/ 4706 h 51323"/>
                <a:gd name="connsiteX212" fmla="*/ 19994 w 51323"/>
                <a:gd name="connsiteY212" fmla="*/ 4706 h 51323"/>
                <a:gd name="connsiteX213" fmla="*/ 20217 w 51323"/>
                <a:gd name="connsiteY213" fmla="*/ 4706 h 51323"/>
                <a:gd name="connsiteX214" fmla="*/ 20062 w 51323"/>
                <a:gd name="connsiteY214" fmla="*/ 4706 h 51323"/>
                <a:gd name="connsiteX215" fmla="*/ 20337 w 51323"/>
                <a:gd name="connsiteY215" fmla="*/ 4706 h 51323"/>
                <a:gd name="connsiteX216" fmla="*/ 20234 w 51323"/>
                <a:gd name="connsiteY216" fmla="*/ 4706 h 51323"/>
                <a:gd name="connsiteX217" fmla="*/ 20234 w 51323"/>
                <a:gd name="connsiteY217" fmla="*/ 4706 h 51323"/>
                <a:gd name="connsiteX218" fmla="*/ 20423 w 51323"/>
                <a:gd name="connsiteY218" fmla="*/ 4706 h 51323"/>
                <a:gd name="connsiteX219" fmla="*/ 20423 w 51323"/>
                <a:gd name="connsiteY219" fmla="*/ 4706 h 51323"/>
                <a:gd name="connsiteX220" fmla="*/ 21711 w 51323"/>
                <a:gd name="connsiteY220" fmla="*/ 4414 h 51323"/>
                <a:gd name="connsiteX221" fmla="*/ 21711 w 51323"/>
                <a:gd name="connsiteY221" fmla="*/ 4414 h 51323"/>
                <a:gd name="connsiteX222" fmla="*/ 22038 w 51323"/>
                <a:gd name="connsiteY222" fmla="*/ 4414 h 51323"/>
                <a:gd name="connsiteX223" fmla="*/ 21814 w 51323"/>
                <a:gd name="connsiteY223" fmla="*/ 4414 h 51323"/>
                <a:gd name="connsiteX224" fmla="*/ 21814 w 51323"/>
                <a:gd name="connsiteY224" fmla="*/ 4414 h 51323"/>
                <a:gd name="connsiteX225" fmla="*/ 22415 w 51323"/>
                <a:gd name="connsiteY225" fmla="*/ 4414 h 51323"/>
                <a:gd name="connsiteX226" fmla="*/ 22415 w 51323"/>
                <a:gd name="connsiteY226" fmla="*/ 4414 h 51323"/>
                <a:gd name="connsiteX227" fmla="*/ 22106 w 51323"/>
                <a:gd name="connsiteY227" fmla="*/ 4414 h 51323"/>
                <a:gd name="connsiteX228" fmla="*/ 22398 w 51323"/>
                <a:gd name="connsiteY228" fmla="*/ 4414 h 51323"/>
                <a:gd name="connsiteX229" fmla="*/ 22398 w 51323"/>
                <a:gd name="connsiteY229" fmla="*/ 4414 h 51323"/>
                <a:gd name="connsiteX230" fmla="*/ 22690 w 51323"/>
                <a:gd name="connsiteY230" fmla="*/ 4414 h 51323"/>
                <a:gd name="connsiteX231" fmla="*/ 22587 w 51323"/>
                <a:gd name="connsiteY231" fmla="*/ 4414 h 51323"/>
                <a:gd name="connsiteX232" fmla="*/ 22484 w 51323"/>
                <a:gd name="connsiteY232" fmla="*/ 4414 h 51323"/>
                <a:gd name="connsiteX233" fmla="*/ 22725 w 51323"/>
                <a:gd name="connsiteY233" fmla="*/ 4414 h 51323"/>
                <a:gd name="connsiteX234" fmla="*/ 22347 w 51323"/>
                <a:gd name="connsiteY234" fmla="*/ 4414 h 51323"/>
                <a:gd name="connsiteX235" fmla="*/ 22244 w 51323"/>
                <a:gd name="connsiteY235" fmla="*/ 4414 h 51323"/>
                <a:gd name="connsiteX236" fmla="*/ 22055 w 51323"/>
                <a:gd name="connsiteY236" fmla="*/ 4414 h 51323"/>
                <a:gd name="connsiteX237" fmla="*/ 22415 w 51323"/>
                <a:gd name="connsiteY237" fmla="*/ 4414 h 51323"/>
                <a:gd name="connsiteX238" fmla="*/ 22020 w 51323"/>
                <a:gd name="connsiteY238" fmla="*/ 4414 h 51323"/>
                <a:gd name="connsiteX239" fmla="*/ 22020 w 51323"/>
                <a:gd name="connsiteY239" fmla="*/ 4414 h 51323"/>
                <a:gd name="connsiteX240" fmla="*/ 21608 w 51323"/>
                <a:gd name="connsiteY240" fmla="*/ 4414 h 51323"/>
                <a:gd name="connsiteX241" fmla="*/ 21608 w 51323"/>
                <a:gd name="connsiteY241" fmla="*/ 4414 h 51323"/>
                <a:gd name="connsiteX242" fmla="*/ 21213 w 51323"/>
                <a:gd name="connsiteY242" fmla="*/ 4500 h 51323"/>
                <a:gd name="connsiteX243" fmla="*/ 21385 w 51323"/>
                <a:gd name="connsiteY243" fmla="*/ 4500 h 51323"/>
                <a:gd name="connsiteX244" fmla="*/ 21385 w 51323"/>
                <a:gd name="connsiteY244" fmla="*/ 4500 h 51323"/>
                <a:gd name="connsiteX245" fmla="*/ 20973 w 51323"/>
                <a:gd name="connsiteY245" fmla="*/ 4586 h 51323"/>
                <a:gd name="connsiteX246" fmla="*/ 21144 w 51323"/>
                <a:gd name="connsiteY246" fmla="*/ 4586 h 51323"/>
                <a:gd name="connsiteX247" fmla="*/ 20955 w 51323"/>
                <a:gd name="connsiteY247" fmla="*/ 4586 h 51323"/>
                <a:gd name="connsiteX248" fmla="*/ 20955 w 51323"/>
                <a:gd name="connsiteY248" fmla="*/ 4586 h 51323"/>
                <a:gd name="connsiteX249" fmla="*/ 20835 w 51323"/>
                <a:gd name="connsiteY249" fmla="*/ 4586 h 51323"/>
                <a:gd name="connsiteX250" fmla="*/ 20835 w 51323"/>
                <a:gd name="connsiteY250" fmla="*/ 4586 h 51323"/>
                <a:gd name="connsiteX251" fmla="*/ 20835 w 51323"/>
                <a:gd name="connsiteY251" fmla="*/ 4586 h 51323"/>
                <a:gd name="connsiteX252" fmla="*/ 20835 w 51323"/>
                <a:gd name="connsiteY252" fmla="*/ 4586 h 51323"/>
                <a:gd name="connsiteX253" fmla="*/ 20835 w 51323"/>
                <a:gd name="connsiteY253" fmla="*/ 4586 h 51323"/>
                <a:gd name="connsiteX254" fmla="*/ 20663 w 51323"/>
                <a:gd name="connsiteY254" fmla="*/ 4586 h 51323"/>
                <a:gd name="connsiteX255" fmla="*/ 20663 w 51323"/>
                <a:gd name="connsiteY255" fmla="*/ 4586 h 51323"/>
                <a:gd name="connsiteX256" fmla="*/ 20663 w 51323"/>
                <a:gd name="connsiteY256" fmla="*/ 4586 h 51323"/>
                <a:gd name="connsiteX257" fmla="*/ 20663 w 51323"/>
                <a:gd name="connsiteY257" fmla="*/ 4586 h 51323"/>
                <a:gd name="connsiteX258" fmla="*/ 20560 w 51323"/>
                <a:gd name="connsiteY258" fmla="*/ 4586 h 51323"/>
                <a:gd name="connsiteX259" fmla="*/ 20560 w 51323"/>
                <a:gd name="connsiteY259" fmla="*/ 4586 h 51323"/>
                <a:gd name="connsiteX260" fmla="*/ 20114 w 51323"/>
                <a:gd name="connsiteY260" fmla="*/ 4706 h 51323"/>
                <a:gd name="connsiteX261" fmla="*/ 20114 w 51323"/>
                <a:gd name="connsiteY261" fmla="*/ 4706 h 51323"/>
                <a:gd name="connsiteX262" fmla="*/ 19787 w 51323"/>
                <a:gd name="connsiteY262" fmla="*/ 4827 h 51323"/>
                <a:gd name="connsiteX263" fmla="*/ 19787 w 51323"/>
                <a:gd name="connsiteY263" fmla="*/ 4827 h 51323"/>
                <a:gd name="connsiteX264" fmla="*/ 19392 w 51323"/>
                <a:gd name="connsiteY264" fmla="*/ 4947 h 51323"/>
                <a:gd name="connsiteX265" fmla="*/ 19392 w 51323"/>
                <a:gd name="connsiteY265" fmla="*/ 4947 h 51323"/>
                <a:gd name="connsiteX266" fmla="*/ 19100 w 51323"/>
                <a:gd name="connsiteY266" fmla="*/ 5153 h 51323"/>
                <a:gd name="connsiteX267" fmla="*/ 19100 w 51323"/>
                <a:gd name="connsiteY267" fmla="*/ 5153 h 51323"/>
                <a:gd name="connsiteX268" fmla="*/ 18997 w 51323"/>
                <a:gd name="connsiteY268" fmla="*/ 5153 h 51323"/>
                <a:gd name="connsiteX269" fmla="*/ 18997 w 51323"/>
                <a:gd name="connsiteY269" fmla="*/ 5153 h 51323"/>
                <a:gd name="connsiteX270" fmla="*/ 18430 w 51323"/>
                <a:gd name="connsiteY270" fmla="*/ 5359 h 51323"/>
                <a:gd name="connsiteX271" fmla="*/ 18568 w 51323"/>
                <a:gd name="connsiteY271" fmla="*/ 5359 h 51323"/>
                <a:gd name="connsiteX272" fmla="*/ 18568 w 51323"/>
                <a:gd name="connsiteY272" fmla="*/ 5359 h 51323"/>
                <a:gd name="connsiteX273" fmla="*/ 19169 w 51323"/>
                <a:gd name="connsiteY273" fmla="*/ 5187 h 51323"/>
                <a:gd name="connsiteX274" fmla="*/ 19169 w 51323"/>
                <a:gd name="connsiteY274" fmla="*/ 5187 h 51323"/>
                <a:gd name="connsiteX275" fmla="*/ 19341 w 51323"/>
                <a:gd name="connsiteY275" fmla="*/ 5187 h 51323"/>
                <a:gd name="connsiteX276" fmla="*/ 19461 w 51323"/>
                <a:gd name="connsiteY276" fmla="*/ 5187 h 51323"/>
                <a:gd name="connsiteX277" fmla="*/ 19186 w 51323"/>
                <a:gd name="connsiteY277" fmla="*/ 5187 h 51323"/>
                <a:gd name="connsiteX278" fmla="*/ 19186 w 51323"/>
                <a:gd name="connsiteY278" fmla="*/ 5187 h 51323"/>
                <a:gd name="connsiteX279" fmla="*/ 19032 w 51323"/>
                <a:gd name="connsiteY279" fmla="*/ 5187 h 51323"/>
                <a:gd name="connsiteX280" fmla="*/ 19032 w 51323"/>
                <a:gd name="connsiteY280" fmla="*/ 5187 h 51323"/>
                <a:gd name="connsiteX281" fmla="*/ 18911 w 51323"/>
                <a:gd name="connsiteY281" fmla="*/ 5187 h 51323"/>
                <a:gd name="connsiteX282" fmla="*/ 18911 w 51323"/>
                <a:gd name="connsiteY282" fmla="*/ 5187 h 51323"/>
                <a:gd name="connsiteX283" fmla="*/ 18740 w 51323"/>
                <a:gd name="connsiteY283" fmla="*/ 5187 h 51323"/>
                <a:gd name="connsiteX284" fmla="*/ 18740 w 51323"/>
                <a:gd name="connsiteY284" fmla="*/ 5187 h 51323"/>
                <a:gd name="connsiteX285" fmla="*/ 18894 w 51323"/>
                <a:gd name="connsiteY285" fmla="*/ 5187 h 51323"/>
                <a:gd name="connsiteX286" fmla="*/ 18894 w 51323"/>
                <a:gd name="connsiteY286" fmla="*/ 5187 h 51323"/>
                <a:gd name="connsiteX287" fmla="*/ 19049 w 51323"/>
                <a:gd name="connsiteY287" fmla="*/ 5187 h 51323"/>
                <a:gd name="connsiteX288" fmla="*/ 19049 w 51323"/>
                <a:gd name="connsiteY288" fmla="*/ 5187 h 51323"/>
                <a:gd name="connsiteX289" fmla="*/ 18860 w 51323"/>
                <a:gd name="connsiteY289" fmla="*/ 5187 h 51323"/>
                <a:gd name="connsiteX290" fmla="*/ 19032 w 51323"/>
                <a:gd name="connsiteY290" fmla="*/ 5187 h 51323"/>
                <a:gd name="connsiteX291" fmla="*/ 19186 w 51323"/>
                <a:gd name="connsiteY291" fmla="*/ 5187 h 51323"/>
                <a:gd name="connsiteX292" fmla="*/ 19289 w 51323"/>
                <a:gd name="connsiteY292" fmla="*/ 5187 h 51323"/>
                <a:gd name="connsiteX293" fmla="*/ 19650 w 51323"/>
                <a:gd name="connsiteY293" fmla="*/ 5084 h 51323"/>
                <a:gd name="connsiteX294" fmla="*/ 18482 w 51323"/>
                <a:gd name="connsiteY294" fmla="*/ 5497 h 51323"/>
                <a:gd name="connsiteX295" fmla="*/ 18654 w 51323"/>
                <a:gd name="connsiteY295" fmla="*/ 5497 h 51323"/>
                <a:gd name="connsiteX296" fmla="*/ 18654 w 51323"/>
                <a:gd name="connsiteY296" fmla="*/ 5497 h 51323"/>
                <a:gd name="connsiteX297" fmla="*/ 18740 w 51323"/>
                <a:gd name="connsiteY297" fmla="*/ 5497 h 51323"/>
                <a:gd name="connsiteX298" fmla="*/ 18894 w 51323"/>
                <a:gd name="connsiteY298" fmla="*/ 5497 h 51323"/>
                <a:gd name="connsiteX299" fmla="*/ 18894 w 51323"/>
                <a:gd name="connsiteY299" fmla="*/ 5497 h 51323"/>
                <a:gd name="connsiteX300" fmla="*/ 19032 w 51323"/>
                <a:gd name="connsiteY300" fmla="*/ 5497 h 51323"/>
                <a:gd name="connsiteX301" fmla="*/ 18722 w 51323"/>
                <a:gd name="connsiteY301" fmla="*/ 5617 h 51323"/>
                <a:gd name="connsiteX302" fmla="*/ 18722 w 51323"/>
                <a:gd name="connsiteY302" fmla="*/ 5617 h 51323"/>
                <a:gd name="connsiteX303" fmla="*/ 18585 w 51323"/>
                <a:gd name="connsiteY303" fmla="*/ 5617 h 51323"/>
                <a:gd name="connsiteX304" fmla="*/ 18585 w 51323"/>
                <a:gd name="connsiteY304" fmla="*/ 5617 h 51323"/>
                <a:gd name="connsiteX305" fmla="*/ 18413 w 51323"/>
                <a:gd name="connsiteY305" fmla="*/ 5617 h 51323"/>
                <a:gd name="connsiteX306" fmla="*/ 18688 w 51323"/>
                <a:gd name="connsiteY306" fmla="*/ 5617 h 51323"/>
                <a:gd name="connsiteX307" fmla="*/ 17743 w 51323"/>
                <a:gd name="connsiteY307" fmla="*/ 6098 h 51323"/>
                <a:gd name="connsiteX308" fmla="*/ 17743 w 51323"/>
                <a:gd name="connsiteY308" fmla="*/ 6098 h 51323"/>
                <a:gd name="connsiteX309" fmla="*/ 17554 w 51323"/>
                <a:gd name="connsiteY309" fmla="*/ 6201 h 51323"/>
                <a:gd name="connsiteX310" fmla="*/ 17743 w 51323"/>
                <a:gd name="connsiteY310" fmla="*/ 6201 h 51323"/>
                <a:gd name="connsiteX311" fmla="*/ 17743 w 51323"/>
                <a:gd name="connsiteY311" fmla="*/ 6201 h 51323"/>
                <a:gd name="connsiteX312" fmla="*/ 17743 w 51323"/>
                <a:gd name="connsiteY312" fmla="*/ 6201 h 51323"/>
                <a:gd name="connsiteX313" fmla="*/ 17159 w 51323"/>
                <a:gd name="connsiteY313" fmla="*/ 6476 h 51323"/>
                <a:gd name="connsiteX314" fmla="*/ 17159 w 51323"/>
                <a:gd name="connsiteY314" fmla="*/ 6476 h 51323"/>
                <a:gd name="connsiteX315" fmla="*/ 17039 w 51323"/>
                <a:gd name="connsiteY315" fmla="*/ 6476 h 51323"/>
                <a:gd name="connsiteX316" fmla="*/ 17039 w 51323"/>
                <a:gd name="connsiteY316" fmla="*/ 6476 h 51323"/>
                <a:gd name="connsiteX317" fmla="*/ 16867 w 51323"/>
                <a:gd name="connsiteY317" fmla="*/ 6579 h 51323"/>
                <a:gd name="connsiteX318" fmla="*/ 16867 w 51323"/>
                <a:gd name="connsiteY318" fmla="*/ 6579 h 51323"/>
                <a:gd name="connsiteX319" fmla="*/ 16730 w 51323"/>
                <a:gd name="connsiteY319" fmla="*/ 6716 h 51323"/>
                <a:gd name="connsiteX320" fmla="*/ 16730 w 51323"/>
                <a:gd name="connsiteY320" fmla="*/ 6716 h 51323"/>
                <a:gd name="connsiteX321" fmla="*/ 16730 w 51323"/>
                <a:gd name="connsiteY321" fmla="*/ 6716 h 51323"/>
                <a:gd name="connsiteX322" fmla="*/ 16730 w 51323"/>
                <a:gd name="connsiteY322" fmla="*/ 6716 h 51323"/>
                <a:gd name="connsiteX323" fmla="*/ 16730 w 51323"/>
                <a:gd name="connsiteY323" fmla="*/ 6716 h 51323"/>
                <a:gd name="connsiteX324" fmla="*/ 16885 w 51323"/>
                <a:gd name="connsiteY324" fmla="*/ 6716 h 51323"/>
                <a:gd name="connsiteX325" fmla="*/ 16627 w 51323"/>
                <a:gd name="connsiteY325" fmla="*/ 6853 h 51323"/>
                <a:gd name="connsiteX326" fmla="*/ 16627 w 51323"/>
                <a:gd name="connsiteY326" fmla="*/ 6853 h 51323"/>
                <a:gd name="connsiteX327" fmla="*/ 16386 w 51323"/>
                <a:gd name="connsiteY327" fmla="*/ 6991 h 51323"/>
                <a:gd name="connsiteX328" fmla="*/ 16558 w 51323"/>
                <a:gd name="connsiteY328" fmla="*/ 6991 h 51323"/>
                <a:gd name="connsiteX329" fmla="*/ 16077 w 51323"/>
                <a:gd name="connsiteY329" fmla="*/ 7266 h 51323"/>
                <a:gd name="connsiteX330" fmla="*/ 16077 w 51323"/>
                <a:gd name="connsiteY330" fmla="*/ 7266 h 51323"/>
                <a:gd name="connsiteX331" fmla="*/ 16077 w 51323"/>
                <a:gd name="connsiteY331" fmla="*/ 7266 h 51323"/>
                <a:gd name="connsiteX332" fmla="*/ 16833 w 51323"/>
                <a:gd name="connsiteY332" fmla="*/ 6888 h 51323"/>
                <a:gd name="connsiteX333" fmla="*/ 16833 w 51323"/>
                <a:gd name="connsiteY333" fmla="*/ 6888 h 51323"/>
                <a:gd name="connsiteX334" fmla="*/ 16833 w 51323"/>
                <a:gd name="connsiteY334" fmla="*/ 6888 h 51323"/>
                <a:gd name="connsiteX335" fmla="*/ 16833 w 51323"/>
                <a:gd name="connsiteY335" fmla="*/ 6888 h 51323"/>
                <a:gd name="connsiteX336" fmla="*/ 16936 w 51323"/>
                <a:gd name="connsiteY336" fmla="*/ 6888 h 51323"/>
                <a:gd name="connsiteX337" fmla="*/ 16833 w 51323"/>
                <a:gd name="connsiteY337" fmla="*/ 6888 h 51323"/>
                <a:gd name="connsiteX338" fmla="*/ 17056 w 51323"/>
                <a:gd name="connsiteY338" fmla="*/ 6785 h 51323"/>
                <a:gd name="connsiteX339" fmla="*/ 17056 w 51323"/>
                <a:gd name="connsiteY339" fmla="*/ 6785 h 51323"/>
                <a:gd name="connsiteX340" fmla="*/ 17159 w 51323"/>
                <a:gd name="connsiteY340" fmla="*/ 6785 h 51323"/>
                <a:gd name="connsiteX341" fmla="*/ 17039 w 51323"/>
                <a:gd name="connsiteY341" fmla="*/ 6785 h 51323"/>
                <a:gd name="connsiteX342" fmla="*/ 17142 w 51323"/>
                <a:gd name="connsiteY342" fmla="*/ 6785 h 51323"/>
                <a:gd name="connsiteX343" fmla="*/ 17022 w 51323"/>
                <a:gd name="connsiteY343" fmla="*/ 6785 h 51323"/>
                <a:gd name="connsiteX344" fmla="*/ 17022 w 51323"/>
                <a:gd name="connsiteY344" fmla="*/ 6785 h 51323"/>
                <a:gd name="connsiteX345" fmla="*/ 16885 w 51323"/>
                <a:gd name="connsiteY345" fmla="*/ 6785 h 51323"/>
                <a:gd name="connsiteX346" fmla="*/ 17005 w 51323"/>
                <a:gd name="connsiteY346" fmla="*/ 6785 h 51323"/>
                <a:gd name="connsiteX347" fmla="*/ 17314 w 51323"/>
                <a:gd name="connsiteY347" fmla="*/ 6785 h 51323"/>
                <a:gd name="connsiteX348" fmla="*/ 17314 w 51323"/>
                <a:gd name="connsiteY348" fmla="*/ 6785 h 51323"/>
                <a:gd name="connsiteX349" fmla="*/ 16696 w 51323"/>
                <a:gd name="connsiteY349" fmla="*/ 7145 h 51323"/>
                <a:gd name="connsiteX350" fmla="*/ 16696 w 51323"/>
                <a:gd name="connsiteY350" fmla="*/ 7145 h 51323"/>
                <a:gd name="connsiteX351" fmla="*/ 16696 w 51323"/>
                <a:gd name="connsiteY351" fmla="*/ 7145 h 51323"/>
                <a:gd name="connsiteX352" fmla="*/ 16696 w 51323"/>
                <a:gd name="connsiteY352" fmla="*/ 7145 h 51323"/>
                <a:gd name="connsiteX353" fmla="*/ 16696 w 51323"/>
                <a:gd name="connsiteY353" fmla="*/ 7145 h 51323"/>
                <a:gd name="connsiteX354" fmla="*/ 16696 w 51323"/>
                <a:gd name="connsiteY354" fmla="*/ 7145 h 51323"/>
                <a:gd name="connsiteX355" fmla="*/ 16696 w 51323"/>
                <a:gd name="connsiteY355" fmla="*/ 7145 h 51323"/>
                <a:gd name="connsiteX356" fmla="*/ 16455 w 51323"/>
                <a:gd name="connsiteY356" fmla="*/ 7300 h 51323"/>
                <a:gd name="connsiteX357" fmla="*/ 16455 w 51323"/>
                <a:gd name="connsiteY357" fmla="*/ 7300 h 51323"/>
                <a:gd name="connsiteX358" fmla="*/ 16455 w 51323"/>
                <a:gd name="connsiteY358" fmla="*/ 7386 h 51323"/>
                <a:gd name="connsiteX359" fmla="*/ 16610 w 51323"/>
                <a:gd name="connsiteY359" fmla="*/ 7386 h 51323"/>
                <a:gd name="connsiteX360" fmla="*/ 16610 w 51323"/>
                <a:gd name="connsiteY360" fmla="*/ 7386 h 51323"/>
                <a:gd name="connsiteX361" fmla="*/ 16610 w 51323"/>
                <a:gd name="connsiteY361" fmla="*/ 7489 h 51323"/>
                <a:gd name="connsiteX362" fmla="*/ 16610 w 51323"/>
                <a:gd name="connsiteY362" fmla="*/ 7489 h 51323"/>
                <a:gd name="connsiteX363" fmla="*/ 16610 w 51323"/>
                <a:gd name="connsiteY363" fmla="*/ 7489 h 51323"/>
                <a:gd name="connsiteX364" fmla="*/ 16610 w 51323"/>
                <a:gd name="connsiteY364" fmla="*/ 7592 h 51323"/>
                <a:gd name="connsiteX365" fmla="*/ 16970 w 51323"/>
                <a:gd name="connsiteY365" fmla="*/ 7334 h 51323"/>
                <a:gd name="connsiteX366" fmla="*/ 16970 w 51323"/>
                <a:gd name="connsiteY366" fmla="*/ 7334 h 51323"/>
                <a:gd name="connsiteX367" fmla="*/ 17108 w 51323"/>
                <a:gd name="connsiteY367" fmla="*/ 7334 h 51323"/>
                <a:gd name="connsiteX368" fmla="*/ 17245 w 51323"/>
                <a:gd name="connsiteY368" fmla="*/ 7334 h 51323"/>
                <a:gd name="connsiteX369" fmla="*/ 17142 w 51323"/>
                <a:gd name="connsiteY369" fmla="*/ 7334 h 51323"/>
                <a:gd name="connsiteX370" fmla="*/ 17142 w 51323"/>
                <a:gd name="connsiteY370" fmla="*/ 7334 h 51323"/>
                <a:gd name="connsiteX371" fmla="*/ 16988 w 51323"/>
                <a:gd name="connsiteY371" fmla="*/ 7437 h 51323"/>
                <a:gd name="connsiteX372" fmla="*/ 16988 w 51323"/>
                <a:gd name="connsiteY372" fmla="*/ 7437 h 51323"/>
                <a:gd name="connsiteX373" fmla="*/ 16867 w 51323"/>
                <a:gd name="connsiteY373" fmla="*/ 7437 h 51323"/>
                <a:gd name="connsiteX374" fmla="*/ 16610 w 51323"/>
                <a:gd name="connsiteY374" fmla="*/ 7575 h 51323"/>
                <a:gd name="connsiteX375" fmla="*/ 16610 w 51323"/>
                <a:gd name="connsiteY375" fmla="*/ 7575 h 51323"/>
                <a:gd name="connsiteX376" fmla="*/ 16421 w 51323"/>
                <a:gd name="connsiteY376" fmla="*/ 7678 h 51323"/>
                <a:gd name="connsiteX377" fmla="*/ 16421 w 51323"/>
                <a:gd name="connsiteY377" fmla="*/ 7678 h 51323"/>
                <a:gd name="connsiteX378" fmla="*/ 16283 w 51323"/>
                <a:gd name="connsiteY378" fmla="*/ 7678 h 51323"/>
                <a:gd name="connsiteX379" fmla="*/ 16283 w 51323"/>
                <a:gd name="connsiteY379" fmla="*/ 7678 h 51323"/>
                <a:gd name="connsiteX380" fmla="*/ 16283 w 51323"/>
                <a:gd name="connsiteY380" fmla="*/ 7678 h 51323"/>
                <a:gd name="connsiteX381" fmla="*/ 16129 w 51323"/>
                <a:gd name="connsiteY381" fmla="*/ 7678 h 51323"/>
                <a:gd name="connsiteX382" fmla="*/ 16129 w 51323"/>
                <a:gd name="connsiteY382" fmla="*/ 7678 h 51323"/>
                <a:gd name="connsiteX383" fmla="*/ 16129 w 51323"/>
                <a:gd name="connsiteY383" fmla="*/ 7678 h 51323"/>
                <a:gd name="connsiteX384" fmla="*/ 16129 w 51323"/>
                <a:gd name="connsiteY384" fmla="*/ 7678 h 51323"/>
                <a:gd name="connsiteX385" fmla="*/ 15820 w 51323"/>
                <a:gd name="connsiteY385" fmla="*/ 7867 h 51323"/>
                <a:gd name="connsiteX386" fmla="*/ 16043 w 51323"/>
                <a:gd name="connsiteY386" fmla="*/ 7747 h 51323"/>
                <a:gd name="connsiteX387" fmla="*/ 16043 w 51323"/>
                <a:gd name="connsiteY387" fmla="*/ 7747 h 51323"/>
                <a:gd name="connsiteX388" fmla="*/ 16318 w 51323"/>
                <a:gd name="connsiteY388" fmla="*/ 7644 h 51323"/>
                <a:gd name="connsiteX389" fmla="*/ 16198 w 51323"/>
                <a:gd name="connsiteY389" fmla="*/ 7644 h 51323"/>
                <a:gd name="connsiteX390" fmla="*/ 16747 w 51323"/>
                <a:gd name="connsiteY390" fmla="*/ 7352 h 51323"/>
                <a:gd name="connsiteX391" fmla="*/ 16747 w 51323"/>
                <a:gd name="connsiteY391" fmla="*/ 7352 h 51323"/>
                <a:gd name="connsiteX392" fmla="*/ 16747 w 51323"/>
                <a:gd name="connsiteY392" fmla="*/ 7352 h 51323"/>
                <a:gd name="connsiteX393" fmla="*/ 17400 w 51323"/>
                <a:gd name="connsiteY393" fmla="*/ 7077 h 51323"/>
                <a:gd name="connsiteX394" fmla="*/ 17262 w 51323"/>
                <a:gd name="connsiteY394" fmla="*/ 7077 h 51323"/>
                <a:gd name="connsiteX395" fmla="*/ 17262 w 51323"/>
                <a:gd name="connsiteY395" fmla="*/ 7077 h 51323"/>
                <a:gd name="connsiteX396" fmla="*/ 17520 w 51323"/>
                <a:gd name="connsiteY396" fmla="*/ 6991 h 51323"/>
                <a:gd name="connsiteX397" fmla="*/ 17846 w 51323"/>
                <a:gd name="connsiteY397" fmla="*/ 6768 h 51323"/>
                <a:gd name="connsiteX398" fmla="*/ 17846 w 51323"/>
                <a:gd name="connsiteY398" fmla="*/ 6768 h 51323"/>
                <a:gd name="connsiteX399" fmla="*/ 17846 w 51323"/>
                <a:gd name="connsiteY399" fmla="*/ 6768 h 51323"/>
                <a:gd name="connsiteX400" fmla="*/ 18482 w 51323"/>
                <a:gd name="connsiteY400" fmla="*/ 6476 h 51323"/>
                <a:gd name="connsiteX401" fmla="*/ 18482 w 51323"/>
                <a:gd name="connsiteY401" fmla="*/ 6476 h 51323"/>
                <a:gd name="connsiteX402" fmla="*/ 19066 w 51323"/>
                <a:gd name="connsiteY402" fmla="*/ 6235 h 51323"/>
                <a:gd name="connsiteX403" fmla="*/ 18911 w 51323"/>
                <a:gd name="connsiteY403" fmla="*/ 6321 h 51323"/>
                <a:gd name="connsiteX404" fmla="*/ 19427 w 51323"/>
                <a:gd name="connsiteY404" fmla="*/ 6115 h 51323"/>
                <a:gd name="connsiteX405" fmla="*/ 19238 w 51323"/>
                <a:gd name="connsiteY405" fmla="*/ 6252 h 51323"/>
                <a:gd name="connsiteX406" fmla="*/ 20303 w 51323"/>
                <a:gd name="connsiteY406" fmla="*/ 5909 h 51323"/>
                <a:gd name="connsiteX407" fmla="*/ 21024 w 51323"/>
                <a:gd name="connsiteY407" fmla="*/ 5651 h 51323"/>
                <a:gd name="connsiteX408" fmla="*/ 20303 w 51323"/>
                <a:gd name="connsiteY408" fmla="*/ 6149 h 51323"/>
                <a:gd name="connsiteX409" fmla="*/ 20303 w 51323"/>
                <a:gd name="connsiteY409" fmla="*/ 6149 h 51323"/>
                <a:gd name="connsiteX410" fmla="*/ 20406 w 51323"/>
                <a:gd name="connsiteY410" fmla="*/ 6149 h 51323"/>
                <a:gd name="connsiteX411" fmla="*/ 20492 w 51323"/>
                <a:gd name="connsiteY411" fmla="*/ 6235 h 51323"/>
                <a:gd name="connsiteX412" fmla="*/ 20354 w 51323"/>
                <a:gd name="connsiteY412" fmla="*/ 6235 h 51323"/>
                <a:gd name="connsiteX413" fmla="*/ 20165 w 51323"/>
                <a:gd name="connsiteY413" fmla="*/ 6355 h 51323"/>
                <a:gd name="connsiteX414" fmla="*/ 20337 w 51323"/>
                <a:gd name="connsiteY414" fmla="*/ 6355 h 51323"/>
                <a:gd name="connsiteX415" fmla="*/ 19856 w 51323"/>
                <a:gd name="connsiteY415" fmla="*/ 6716 h 51323"/>
                <a:gd name="connsiteX416" fmla="*/ 20097 w 51323"/>
                <a:gd name="connsiteY416" fmla="*/ 6716 h 51323"/>
                <a:gd name="connsiteX417" fmla="*/ 19667 w 51323"/>
                <a:gd name="connsiteY417" fmla="*/ 6939 h 51323"/>
                <a:gd name="connsiteX418" fmla="*/ 19495 w 51323"/>
                <a:gd name="connsiteY418" fmla="*/ 7145 h 51323"/>
                <a:gd name="connsiteX419" fmla="*/ 19358 w 51323"/>
                <a:gd name="connsiteY419" fmla="*/ 7266 h 51323"/>
                <a:gd name="connsiteX420" fmla="*/ 19358 w 51323"/>
                <a:gd name="connsiteY420" fmla="*/ 7352 h 51323"/>
                <a:gd name="connsiteX421" fmla="*/ 19358 w 51323"/>
                <a:gd name="connsiteY421" fmla="*/ 7523 h 51323"/>
                <a:gd name="connsiteX422" fmla="*/ 19049 w 51323"/>
                <a:gd name="connsiteY422" fmla="*/ 7626 h 51323"/>
                <a:gd name="connsiteX423" fmla="*/ 18860 w 51323"/>
                <a:gd name="connsiteY423" fmla="*/ 7918 h 51323"/>
                <a:gd name="connsiteX424" fmla="*/ 18860 w 51323"/>
                <a:gd name="connsiteY424" fmla="*/ 8039 h 51323"/>
                <a:gd name="connsiteX425" fmla="*/ 18705 w 51323"/>
                <a:gd name="connsiteY425" fmla="*/ 8399 h 51323"/>
                <a:gd name="connsiteX426" fmla="*/ 18551 w 51323"/>
                <a:gd name="connsiteY426" fmla="*/ 8588 h 51323"/>
                <a:gd name="connsiteX427" fmla="*/ 18396 w 51323"/>
                <a:gd name="connsiteY427" fmla="*/ 8829 h 51323"/>
                <a:gd name="connsiteX428" fmla="*/ 18190 w 51323"/>
                <a:gd name="connsiteY428" fmla="*/ 8966 h 51323"/>
                <a:gd name="connsiteX429" fmla="*/ 18190 w 51323"/>
                <a:gd name="connsiteY429" fmla="*/ 8966 h 51323"/>
                <a:gd name="connsiteX430" fmla="*/ 17846 w 51323"/>
                <a:gd name="connsiteY430" fmla="*/ 9155 h 51323"/>
                <a:gd name="connsiteX431" fmla="*/ 18224 w 51323"/>
                <a:gd name="connsiteY431" fmla="*/ 8605 h 51323"/>
                <a:gd name="connsiteX432" fmla="*/ 18224 w 51323"/>
                <a:gd name="connsiteY432" fmla="*/ 8434 h 51323"/>
                <a:gd name="connsiteX433" fmla="*/ 18053 w 51323"/>
                <a:gd name="connsiteY433" fmla="*/ 8434 h 51323"/>
                <a:gd name="connsiteX434" fmla="*/ 17486 w 51323"/>
                <a:gd name="connsiteY434" fmla="*/ 9155 h 51323"/>
                <a:gd name="connsiteX435" fmla="*/ 16747 w 51323"/>
                <a:gd name="connsiteY435" fmla="*/ 9842 h 51323"/>
                <a:gd name="connsiteX436" fmla="*/ 16747 w 51323"/>
                <a:gd name="connsiteY436" fmla="*/ 9396 h 51323"/>
                <a:gd name="connsiteX437" fmla="*/ 16524 w 51323"/>
                <a:gd name="connsiteY437" fmla="*/ 10306 h 51323"/>
                <a:gd name="connsiteX438" fmla="*/ 16799 w 51323"/>
                <a:gd name="connsiteY438" fmla="*/ 9069 h 51323"/>
                <a:gd name="connsiteX439" fmla="*/ 16558 w 51323"/>
                <a:gd name="connsiteY439" fmla="*/ 9069 h 51323"/>
                <a:gd name="connsiteX440" fmla="*/ 16301 w 51323"/>
                <a:gd name="connsiteY440" fmla="*/ 9069 h 51323"/>
                <a:gd name="connsiteX441" fmla="*/ 16850 w 51323"/>
                <a:gd name="connsiteY441" fmla="*/ 8794 h 51323"/>
                <a:gd name="connsiteX442" fmla="*/ 19530 w 51323"/>
                <a:gd name="connsiteY442" fmla="*/ 6733 h 51323"/>
                <a:gd name="connsiteX443" fmla="*/ 18980 w 51323"/>
                <a:gd name="connsiteY443" fmla="*/ 6733 h 51323"/>
                <a:gd name="connsiteX444" fmla="*/ 18980 w 51323"/>
                <a:gd name="connsiteY444" fmla="*/ 6561 h 51323"/>
                <a:gd name="connsiteX445" fmla="*/ 18980 w 51323"/>
                <a:gd name="connsiteY445" fmla="*/ 6373 h 51323"/>
                <a:gd name="connsiteX446" fmla="*/ 19083 w 51323"/>
                <a:gd name="connsiteY446" fmla="*/ 6373 h 51323"/>
                <a:gd name="connsiteX447" fmla="*/ 18929 w 51323"/>
                <a:gd name="connsiteY447" fmla="*/ 6458 h 51323"/>
                <a:gd name="connsiteX448" fmla="*/ 18173 w 51323"/>
                <a:gd name="connsiteY448" fmla="*/ 6871 h 51323"/>
                <a:gd name="connsiteX449" fmla="*/ 18173 w 51323"/>
                <a:gd name="connsiteY449" fmla="*/ 6871 h 51323"/>
                <a:gd name="connsiteX450" fmla="*/ 18293 w 51323"/>
                <a:gd name="connsiteY450" fmla="*/ 6871 h 51323"/>
                <a:gd name="connsiteX451" fmla="*/ 18242 w 51323"/>
                <a:gd name="connsiteY451" fmla="*/ 6871 h 51323"/>
                <a:gd name="connsiteX452" fmla="*/ 18242 w 51323"/>
                <a:gd name="connsiteY452" fmla="*/ 6871 h 51323"/>
                <a:gd name="connsiteX453" fmla="*/ 17898 w 51323"/>
                <a:gd name="connsiteY453" fmla="*/ 7025 h 51323"/>
                <a:gd name="connsiteX454" fmla="*/ 17898 w 51323"/>
                <a:gd name="connsiteY454" fmla="*/ 7025 h 51323"/>
                <a:gd name="connsiteX455" fmla="*/ 17898 w 51323"/>
                <a:gd name="connsiteY455" fmla="*/ 7025 h 51323"/>
                <a:gd name="connsiteX456" fmla="*/ 18001 w 51323"/>
                <a:gd name="connsiteY456" fmla="*/ 7025 h 51323"/>
                <a:gd name="connsiteX457" fmla="*/ 18001 w 51323"/>
                <a:gd name="connsiteY457" fmla="*/ 7025 h 51323"/>
                <a:gd name="connsiteX458" fmla="*/ 18001 w 51323"/>
                <a:gd name="connsiteY458" fmla="*/ 7025 h 51323"/>
                <a:gd name="connsiteX459" fmla="*/ 17829 w 51323"/>
                <a:gd name="connsiteY459" fmla="*/ 7025 h 51323"/>
                <a:gd name="connsiteX460" fmla="*/ 17829 w 51323"/>
                <a:gd name="connsiteY460" fmla="*/ 7025 h 51323"/>
                <a:gd name="connsiteX461" fmla="*/ 17829 w 51323"/>
                <a:gd name="connsiteY461" fmla="*/ 7025 h 51323"/>
                <a:gd name="connsiteX462" fmla="*/ 17177 w 51323"/>
                <a:gd name="connsiteY462" fmla="*/ 7437 h 51323"/>
                <a:gd name="connsiteX463" fmla="*/ 17434 w 51323"/>
                <a:gd name="connsiteY463" fmla="*/ 7334 h 51323"/>
                <a:gd name="connsiteX464" fmla="*/ 17434 w 51323"/>
                <a:gd name="connsiteY464" fmla="*/ 7334 h 51323"/>
                <a:gd name="connsiteX465" fmla="*/ 17864 w 51323"/>
                <a:gd name="connsiteY465" fmla="*/ 7111 h 51323"/>
                <a:gd name="connsiteX466" fmla="*/ 17331 w 51323"/>
                <a:gd name="connsiteY466" fmla="*/ 7489 h 51323"/>
                <a:gd name="connsiteX467" fmla="*/ 17331 w 51323"/>
                <a:gd name="connsiteY467" fmla="*/ 7489 h 51323"/>
                <a:gd name="connsiteX468" fmla="*/ 16644 w 51323"/>
                <a:gd name="connsiteY468" fmla="*/ 7970 h 51323"/>
                <a:gd name="connsiteX469" fmla="*/ 16799 w 51323"/>
                <a:gd name="connsiteY469" fmla="*/ 7884 h 51323"/>
                <a:gd name="connsiteX470" fmla="*/ 16799 w 51323"/>
                <a:gd name="connsiteY470" fmla="*/ 7884 h 51323"/>
                <a:gd name="connsiteX471" fmla="*/ 17675 w 51323"/>
                <a:gd name="connsiteY471" fmla="*/ 7437 h 51323"/>
                <a:gd name="connsiteX472" fmla="*/ 17675 w 51323"/>
                <a:gd name="connsiteY472" fmla="*/ 7437 h 51323"/>
                <a:gd name="connsiteX473" fmla="*/ 17675 w 51323"/>
                <a:gd name="connsiteY473" fmla="*/ 7437 h 51323"/>
                <a:gd name="connsiteX474" fmla="*/ 17812 w 51323"/>
                <a:gd name="connsiteY474" fmla="*/ 7352 h 51323"/>
                <a:gd name="connsiteX475" fmla="*/ 17812 w 51323"/>
                <a:gd name="connsiteY475" fmla="*/ 7352 h 51323"/>
                <a:gd name="connsiteX476" fmla="*/ 17932 w 51323"/>
                <a:gd name="connsiteY476" fmla="*/ 7352 h 51323"/>
                <a:gd name="connsiteX477" fmla="*/ 17932 w 51323"/>
                <a:gd name="connsiteY477" fmla="*/ 7352 h 51323"/>
                <a:gd name="connsiteX478" fmla="*/ 18362 w 51323"/>
                <a:gd name="connsiteY478" fmla="*/ 7111 h 51323"/>
                <a:gd name="connsiteX479" fmla="*/ 18362 w 51323"/>
                <a:gd name="connsiteY479" fmla="*/ 7266 h 51323"/>
                <a:gd name="connsiteX480" fmla="*/ 18362 w 51323"/>
                <a:gd name="connsiteY480" fmla="*/ 7266 h 51323"/>
                <a:gd name="connsiteX481" fmla="*/ 18242 w 51323"/>
                <a:gd name="connsiteY481" fmla="*/ 7386 h 51323"/>
                <a:gd name="connsiteX482" fmla="*/ 18104 w 51323"/>
                <a:gd name="connsiteY482" fmla="*/ 7489 h 51323"/>
                <a:gd name="connsiteX483" fmla="*/ 17898 w 51323"/>
                <a:gd name="connsiteY483" fmla="*/ 7626 h 51323"/>
                <a:gd name="connsiteX484" fmla="*/ 17898 w 51323"/>
                <a:gd name="connsiteY484" fmla="*/ 7626 h 51323"/>
                <a:gd name="connsiteX485" fmla="*/ 17898 w 51323"/>
                <a:gd name="connsiteY485" fmla="*/ 7626 h 51323"/>
                <a:gd name="connsiteX486" fmla="*/ 17692 w 51323"/>
                <a:gd name="connsiteY486" fmla="*/ 7626 h 51323"/>
                <a:gd name="connsiteX487" fmla="*/ 17692 w 51323"/>
                <a:gd name="connsiteY487" fmla="*/ 7626 h 51323"/>
                <a:gd name="connsiteX488" fmla="*/ 17537 w 51323"/>
                <a:gd name="connsiteY488" fmla="*/ 7729 h 51323"/>
                <a:gd name="connsiteX489" fmla="*/ 17537 w 51323"/>
                <a:gd name="connsiteY489" fmla="*/ 7729 h 51323"/>
                <a:gd name="connsiteX490" fmla="*/ 17537 w 51323"/>
                <a:gd name="connsiteY490" fmla="*/ 7729 h 51323"/>
                <a:gd name="connsiteX491" fmla="*/ 16438 w 51323"/>
                <a:gd name="connsiteY491" fmla="*/ 8296 h 51323"/>
                <a:gd name="connsiteX492" fmla="*/ 16524 w 51323"/>
                <a:gd name="connsiteY492" fmla="*/ 8245 h 51323"/>
                <a:gd name="connsiteX493" fmla="*/ 16524 w 51323"/>
                <a:gd name="connsiteY493" fmla="*/ 8245 h 51323"/>
                <a:gd name="connsiteX494" fmla="*/ 16661 w 51323"/>
                <a:gd name="connsiteY494" fmla="*/ 8125 h 51323"/>
                <a:gd name="connsiteX495" fmla="*/ 16661 w 51323"/>
                <a:gd name="connsiteY495" fmla="*/ 8125 h 51323"/>
                <a:gd name="connsiteX496" fmla="*/ 16661 w 51323"/>
                <a:gd name="connsiteY496" fmla="*/ 8125 h 51323"/>
                <a:gd name="connsiteX497" fmla="*/ 16301 w 51323"/>
                <a:gd name="connsiteY497" fmla="*/ 8451 h 51323"/>
                <a:gd name="connsiteX498" fmla="*/ 16404 w 51323"/>
                <a:gd name="connsiteY498" fmla="*/ 8296 h 51323"/>
                <a:gd name="connsiteX499" fmla="*/ 16283 w 51323"/>
                <a:gd name="connsiteY499" fmla="*/ 8399 h 51323"/>
                <a:gd name="connsiteX500" fmla="*/ 16283 w 51323"/>
                <a:gd name="connsiteY500" fmla="*/ 8399 h 51323"/>
                <a:gd name="connsiteX501" fmla="*/ 16283 w 51323"/>
                <a:gd name="connsiteY501" fmla="*/ 8399 h 51323"/>
                <a:gd name="connsiteX502" fmla="*/ 16438 w 51323"/>
                <a:gd name="connsiteY502" fmla="*/ 8279 h 51323"/>
                <a:gd name="connsiteX503" fmla="*/ 16438 w 51323"/>
                <a:gd name="connsiteY503" fmla="*/ 8279 h 51323"/>
                <a:gd name="connsiteX504" fmla="*/ 16438 w 51323"/>
                <a:gd name="connsiteY504" fmla="*/ 8279 h 51323"/>
                <a:gd name="connsiteX505" fmla="*/ 16438 w 51323"/>
                <a:gd name="connsiteY505" fmla="*/ 8279 h 51323"/>
                <a:gd name="connsiteX506" fmla="*/ 15837 w 51323"/>
                <a:gd name="connsiteY506" fmla="*/ 8657 h 51323"/>
                <a:gd name="connsiteX507" fmla="*/ 15837 w 51323"/>
                <a:gd name="connsiteY507" fmla="*/ 8657 h 51323"/>
                <a:gd name="connsiteX508" fmla="*/ 15837 w 51323"/>
                <a:gd name="connsiteY508" fmla="*/ 8365 h 51323"/>
                <a:gd name="connsiteX509" fmla="*/ 15287 w 51323"/>
                <a:gd name="connsiteY509" fmla="*/ 8932 h 51323"/>
                <a:gd name="connsiteX510" fmla="*/ 15287 w 51323"/>
                <a:gd name="connsiteY510" fmla="*/ 8932 h 51323"/>
                <a:gd name="connsiteX511" fmla="*/ 14841 w 51323"/>
                <a:gd name="connsiteY511" fmla="*/ 9138 h 51323"/>
                <a:gd name="connsiteX512" fmla="*/ 14841 w 51323"/>
                <a:gd name="connsiteY512" fmla="*/ 9138 h 51323"/>
                <a:gd name="connsiteX513" fmla="*/ 14841 w 51323"/>
                <a:gd name="connsiteY513" fmla="*/ 9138 h 51323"/>
                <a:gd name="connsiteX514" fmla="*/ 14841 w 51323"/>
                <a:gd name="connsiteY514" fmla="*/ 9138 h 51323"/>
                <a:gd name="connsiteX515" fmla="*/ 14961 w 51323"/>
                <a:gd name="connsiteY515" fmla="*/ 9035 h 51323"/>
                <a:gd name="connsiteX516" fmla="*/ 14806 w 51323"/>
                <a:gd name="connsiteY516" fmla="*/ 9121 h 51323"/>
                <a:gd name="connsiteX517" fmla="*/ 14909 w 51323"/>
                <a:gd name="connsiteY517" fmla="*/ 9018 h 51323"/>
                <a:gd name="connsiteX518" fmla="*/ 14686 w 51323"/>
                <a:gd name="connsiteY518" fmla="*/ 9138 h 51323"/>
                <a:gd name="connsiteX519" fmla="*/ 14531 w 51323"/>
                <a:gd name="connsiteY519" fmla="*/ 9258 h 51323"/>
                <a:gd name="connsiteX520" fmla="*/ 14789 w 51323"/>
                <a:gd name="connsiteY520" fmla="*/ 8846 h 51323"/>
                <a:gd name="connsiteX521" fmla="*/ 14789 w 51323"/>
                <a:gd name="connsiteY521" fmla="*/ 8846 h 51323"/>
                <a:gd name="connsiteX522" fmla="*/ 14789 w 51323"/>
                <a:gd name="connsiteY522" fmla="*/ 8846 h 51323"/>
                <a:gd name="connsiteX523" fmla="*/ 14703 w 51323"/>
                <a:gd name="connsiteY523" fmla="*/ 8949 h 51323"/>
                <a:gd name="connsiteX524" fmla="*/ 14549 w 51323"/>
                <a:gd name="connsiteY524" fmla="*/ 9121 h 51323"/>
                <a:gd name="connsiteX525" fmla="*/ 14686 w 51323"/>
                <a:gd name="connsiteY525" fmla="*/ 9121 h 51323"/>
                <a:gd name="connsiteX526" fmla="*/ 14411 w 51323"/>
                <a:gd name="connsiteY526" fmla="*/ 9121 h 51323"/>
                <a:gd name="connsiteX527" fmla="*/ 14085 w 51323"/>
                <a:gd name="connsiteY527" fmla="*/ 9447 h 51323"/>
                <a:gd name="connsiteX528" fmla="*/ 14085 w 51323"/>
                <a:gd name="connsiteY528" fmla="*/ 9447 h 51323"/>
                <a:gd name="connsiteX529" fmla="*/ 14085 w 51323"/>
                <a:gd name="connsiteY529" fmla="*/ 9447 h 51323"/>
                <a:gd name="connsiteX530" fmla="*/ 14085 w 51323"/>
                <a:gd name="connsiteY530" fmla="*/ 9447 h 51323"/>
                <a:gd name="connsiteX531" fmla="*/ 13930 w 51323"/>
                <a:gd name="connsiteY531" fmla="*/ 9585 h 51323"/>
                <a:gd name="connsiteX532" fmla="*/ 13930 w 51323"/>
                <a:gd name="connsiteY532" fmla="*/ 9585 h 51323"/>
                <a:gd name="connsiteX533" fmla="*/ 13776 w 51323"/>
                <a:gd name="connsiteY533" fmla="*/ 9585 h 51323"/>
                <a:gd name="connsiteX534" fmla="*/ 13123 w 51323"/>
                <a:gd name="connsiteY534" fmla="*/ 9945 h 51323"/>
                <a:gd name="connsiteX535" fmla="*/ 13123 w 51323"/>
                <a:gd name="connsiteY535" fmla="*/ 9945 h 51323"/>
                <a:gd name="connsiteX536" fmla="*/ 11903 w 51323"/>
                <a:gd name="connsiteY536" fmla="*/ 10907 h 51323"/>
                <a:gd name="connsiteX537" fmla="*/ 11525 w 51323"/>
                <a:gd name="connsiteY537" fmla="*/ 11405 h 51323"/>
                <a:gd name="connsiteX538" fmla="*/ 11525 w 51323"/>
                <a:gd name="connsiteY538" fmla="*/ 12092 h 51323"/>
                <a:gd name="connsiteX539" fmla="*/ 11525 w 51323"/>
                <a:gd name="connsiteY539" fmla="*/ 12092 h 51323"/>
                <a:gd name="connsiteX540" fmla="*/ 11405 w 51323"/>
                <a:gd name="connsiteY540" fmla="*/ 12556 h 51323"/>
                <a:gd name="connsiteX541" fmla="*/ 11629 w 51323"/>
                <a:gd name="connsiteY541" fmla="*/ 12693 h 51323"/>
                <a:gd name="connsiteX542" fmla="*/ 11629 w 51323"/>
                <a:gd name="connsiteY542" fmla="*/ 12693 h 51323"/>
                <a:gd name="connsiteX543" fmla="*/ 10392 w 51323"/>
                <a:gd name="connsiteY543" fmla="*/ 14325 h 51323"/>
                <a:gd name="connsiteX544" fmla="*/ 10753 w 51323"/>
                <a:gd name="connsiteY544" fmla="*/ 14188 h 51323"/>
                <a:gd name="connsiteX545" fmla="*/ 10649 w 51323"/>
                <a:gd name="connsiteY545" fmla="*/ 14514 h 51323"/>
                <a:gd name="connsiteX546" fmla="*/ 12608 w 51323"/>
                <a:gd name="connsiteY546" fmla="*/ 12590 h 51323"/>
                <a:gd name="connsiteX547" fmla="*/ 13999 w 51323"/>
                <a:gd name="connsiteY547" fmla="*/ 11148 h 51323"/>
                <a:gd name="connsiteX548" fmla="*/ 13999 w 51323"/>
                <a:gd name="connsiteY548" fmla="*/ 11148 h 51323"/>
                <a:gd name="connsiteX549" fmla="*/ 14205 w 51323"/>
                <a:gd name="connsiteY549" fmla="*/ 10976 h 51323"/>
                <a:gd name="connsiteX550" fmla="*/ 14325 w 51323"/>
                <a:gd name="connsiteY550" fmla="*/ 10856 h 51323"/>
                <a:gd name="connsiteX551" fmla="*/ 15081 w 51323"/>
                <a:gd name="connsiteY551" fmla="*/ 10409 h 51323"/>
                <a:gd name="connsiteX552" fmla="*/ 15201 w 51323"/>
                <a:gd name="connsiteY552" fmla="*/ 10409 h 51323"/>
                <a:gd name="connsiteX553" fmla="*/ 15201 w 51323"/>
                <a:gd name="connsiteY553" fmla="*/ 10409 h 51323"/>
                <a:gd name="connsiteX554" fmla="*/ 15304 w 51323"/>
                <a:gd name="connsiteY554" fmla="*/ 10564 h 51323"/>
                <a:gd name="connsiteX555" fmla="*/ 15167 w 51323"/>
                <a:gd name="connsiteY555" fmla="*/ 10701 h 51323"/>
                <a:gd name="connsiteX556" fmla="*/ 15167 w 51323"/>
                <a:gd name="connsiteY556" fmla="*/ 10701 h 51323"/>
                <a:gd name="connsiteX557" fmla="*/ 15167 w 51323"/>
                <a:gd name="connsiteY557" fmla="*/ 10856 h 51323"/>
                <a:gd name="connsiteX558" fmla="*/ 15167 w 51323"/>
                <a:gd name="connsiteY558" fmla="*/ 10856 h 51323"/>
                <a:gd name="connsiteX559" fmla="*/ 15167 w 51323"/>
                <a:gd name="connsiteY559" fmla="*/ 10941 h 51323"/>
                <a:gd name="connsiteX560" fmla="*/ 15167 w 51323"/>
                <a:gd name="connsiteY560" fmla="*/ 10941 h 51323"/>
                <a:gd name="connsiteX561" fmla="*/ 15047 w 51323"/>
                <a:gd name="connsiteY561" fmla="*/ 11079 h 51323"/>
                <a:gd name="connsiteX562" fmla="*/ 15047 w 51323"/>
                <a:gd name="connsiteY562" fmla="*/ 11079 h 51323"/>
                <a:gd name="connsiteX563" fmla="*/ 15047 w 51323"/>
                <a:gd name="connsiteY563" fmla="*/ 11079 h 51323"/>
                <a:gd name="connsiteX564" fmla="*/ 15047 w 51323"/>
                <a:gd name="connsiteY564" fmla="*/ 11079 h 51323"/>
                <a:gd name="connsiteX565" fmla="*/ 15047 w 51323"/>
                <a:gd name="connsiteY565" fmla="*/ 11079 h 51323"/>
                <a:gd name="connsiteX566" fmla="*/ 15047 w 51323"/>
                <a:gd name="connsiteY566" fmla="*/ 11079 h 51323"/>
                <a:gd name="connsiteX567" fmla="*/ 15047 w 51323"/>
                <a:gd name="connsiteY567" fmla="*/ 11216 h 51323"/>
                <a:gd name="connsiteX568" fmla="*/ 15201 w 51323"/>
                <a:gd name="connsiteY568" fmla="*/ 11130 h 51323"/>
                <a:gd name="connsiteX569" fmla="*/ 14789 w 51323"/>
                <a:gd name="connsiteY569" fmla="*/ 11508 h 51323"/>
                <a:gd name="connsiteX570" fmla="*/ 14789 w 51323"/>
                <a:gd name="connsiteY570" fmla="*/ 11508 h 51323"/>
                <a:gd name="connsiteX571" fmla="*/ 14583 w 51323"/>
                <a:gd name="connsiteY571" fmla="*/ 11508 h 51323"/>
                <a:gd name="connsiteX572" fmla="*/ 14325 w 51323"/>
                <a:gd name="connsiteY572" fmla="*/ 11989 h 51323"/>
                <a:gd name="connsiteX573" fmla="*/ 14325 w 51323"/>
                <a:gd name="connsiteY573" fmla="*/ 11989 h 51323"/>
                <a:gd name="connsiteX574" fmla="*/ 14016 w 51323"/>
                <a:gd name="connsiteY574" fmla="*/ 12367 h 51323"/>
                <a:gd name="connsiteX575" fmla="*/ 14016 w 51323"/>
                <a:gd name="connsiteY575" fmla="*/ 12367 h 51323"/>
                <a:gd name="connsiteX576" fmla="*/ 14308 w 51323"/>
                <a:gd name="connsiteY576" fmla="*/ 12230 h 51323"/>
                <a:gd name="connsiteX577" fmla="*/ 14549 w 51323"/>
                <a:gd name="connsiteY577" fmla="*/ 12075 h 51323"/>
                <a:gd name="connsiteX578" fmla="*/ 14549 w 51323"/>
                <a:gd name="connsiteY578" fmla="*/ 12247 h 51323"/>
                <a:gd name="connsiteX579" fmla="*/ 14995 w 51323"/>
                <a:gd name="connsiteY579" fmla="*/ 11921 h 51323"/>
                <a:gd name="connsiteX580" fmla="*/ 14995 w 51323"/>
                <a:gd name="connsiteY580" fmla="*/ 11921 h 51323"/>
                <a:gd name="connsiteX581" fmla="*/ 15133 w 51323"/>
                <a:gd name="connsiteY581" fmla="*/ 11817 h 51323"/>
                <a:gd name="connsiteX582" fmla="*/ 15133 w 51323"/>
                <a:gd name="connsiteY582" fmla="*/ 11817 h 51323"/>
                <a:gd name="connsiteX583" fmla="*/ 15442 w 51323"/>
                <a:gd name="connsiteY583" fmla="*/ 11577 h 51323"/>
                <a:gd name="connsiteX584" fmla="*/ 15442 w 51323"/>
                <a:gd name="connsiteY584" fmla="*/ 11577 h 51323"/>
                <a:gd name="connsiteX585" fmla="*/ 15322 w 51323"/>
                <a:gd name="connsiteY585" fmla="*/ 11697 h 51323"/>
                <a:gd name="connsiteX586" fmla="*/ 15322 w 51323"/>
                <a:gd name="connsiteY586" fmla="*/ 11783 h 51323"/>
                <a:gd name="connsiteX587" fmla="*/ 15322 w 51323"/>
                <a:gd name="connsiteY587" fmla="*/ 11783 h 51323"/>
                <a:gd name="connsiteX588" fmla="*/ 15150 w 51323"/>
                <a:gd name="connsiteY588" fmla="*/ 12006 h 51323"/>
                <a:gd name="connsiteX589" fmla="*/ 15150 w 51323"/>
                <a:gd name="connsiteY589" fmla="*/ 12006 h 51323"/>
                <a:gd name="connsiteX590" fmla="*/ 15150 w 51323"/>
                <a:gd name="connsiteY590" fmla="*/ 12144 h 51323"/>
                <a:gd name="connsiteX591" fmla="*/ 15150 w 51323"/>
                <a:gd name="connsiteY591" fmla="*/ 12247 h 51323"/>
                <a:gd name="connsiteX592" fmla="*/ 14978 w 51323"/>
                <a:gd name="connsiteY592" fmla="*/ 12247 h 51323"/>
                <a:gd name="connsiteX593" fmla="*/ 14978 w 51323"/>
                <a:gd name="connsiteY593" fmla="*/ 12350 h 51323"/>
                <a:gd name="connsiteX594" fmla="*/ 15150 w 51323"/>
                <a:gd name="connsiteY594" fmla="*/ 12350 h 51323"/>
                <a:gd name="connsiteX595" fmla="*/ 14892 w 51323"/>
                <a:gd name="connsiteY595" fmla="*/ 12505 h 51323"/>
                <a:gd name="connsiteX596" fmla="*/ 14892 w 51323"/>
                <a:gd name="connsiteY596" fmla="*/ 12608 h 51323"/>
                <a:gd name="connsiteX597" fmla="*/ 14995 w 51323"/>
                <a:gd name="connsiteY597" fmla="*/ 12608 h 51323"/>
                <a:gd name="connsiteX598" fmla="*/ 14889 w 51323"/>
                <a:gd name="connsiteY598" fmla="*/ 12770 h 51323"/>
                <a:gd name="connsiteX599" fmla="*/ 14806 w 51323"/>
                <a:gd name="connsiteY599" fmla="*/ 12762 h 51323"/>
                <a:gd name="connsiteX600" fmla="*/ 14806 w 51323"/>
                <a:gd name="connsiteY600" fmla="*/ 12917 h 51323"/>
                <a:gd name="connsiteX601" fmla="*/ 14566 w 51323"/>
                <a:gd name="connsiteY601" fmla="*/ 13089 h 51323"/>
                <a:gd name="connsiteX602" fmla="*/ 14411 w 51323"/>
                <a:gd name="connsiteY602" fmla="*/ 13312 h 51323"/>
                <a:gd name="connsiteX603" fmla="*/ 14531 w 51323"/>
                <a:gd name="connsiteY603" fmla="*/ 13415 h 51323"/>
                <a:gd name="connsiteX604" fmla="*/ 14531 w 51323"/>
                <a:gd name="connsiteY604" fmla="*/ 13501 h 51323"/>
                <a:gd name="connsiteX605" fmla="*/ 14531 w 51323"/>
                <a:gd name="connsiteY605" fmla="*/ 13621 h 51323"/>
                <a:gd name="connsiteX606" fmla="*/ 14634 w 51323"/>
                <a:gd name="connsiteY606" fmla="*/ 13621 h 51323"/>
                <a:gd name="connsiteX607" fmla="*/ 14325 w 51323"/>
                <a:gd name="connsiteY607" fmla="*/ 13844 h 51323"/>
                <a:gd name="connsiteX608" fmla="*/ 14549 w 51323"/>
                <a:gd name="connsiteY608" fmla="*/ 13844 h 51323"/>
                <a:gd name="connsiteX609" fmla="*/ 14549 w 51323"/>
                <a:gd name="connsiteY609" fmla="*/ 13844 h 51323"/>
                <a:gd name="connsiteX610" fmla="*/ 14394 w 51323"/>
                <a:gd name="connsiteY610" fmla="*/ 13999 h 51323"/>
                <a:gd name="connsiteX611" fmla="*/ 14549 w 51323"/>
                <a:gd name="connsiteY611" fmla="*/ 13999 h 51323"/>
                <a:gd name="connsiteX612" fmla="*/ 14549 w 51323"/>
                <a:gd name="connsiteY612" fmla="*/ 13999 h 51323"/>
                <a:gd name="connsiteX613" fmla="*/ 14446 w 51323"/>
                <a:gd name="connsiteY613" fmla="*/ 14153 h 51323"/>
                <a:gd name="connsiteX614" fmla="*/ 14549 w 51323"/>
                <a:gd name="connsiteY614" fmla="*/ 14153 h 51323"/>
                <a:gd name="connsiteX615" fmla="*/ 14119 w 51323"/>
                <a:gd name="connsiteY615" fmla="*/ 14360 h 51323"/>
                <a:gd name="connsiteX616" fmla="*/ 13896 w 51323"/>
                <a:gd name="connsiteY616" fmla="*/ 14497 h 51323"/>
                <a:gd name="connsiteX617" fmla="*/ 13896 w 51323"/>
                <a:gd name="connsiteY617" fmla="*/ 14308 h 51323"/>
                <a:gd name="connsiteX618" fmla="*/ 13793 w 51323"/>
                <a:gd name="connsiteY618" fmla="*/ 14634 h 51323"/>
                <a:gd name="connsiteX619" fmla="*/ 14428 w 51323"/>
                <a:gd name="connsiteY619" fmla="*/ 14411 h 51323"/>
                <a:gd name="connsiteX620" fmla="*/ 14428 w 51323"/>
                <a:gd name="connsiteY620" fmla="*/ 14617 h 51323"/>
                <a:gd name="connsiteX621" fmla="*/ 14428 w 51323"/>
                <a:gd name="connsiteY621" fmla="*/ 14617 h 51323"/>
                <a:gd name="connsiteX622" fmla="*/ 14566 w 51323"/>
                <a:gd name="connsiteY622" fmla="*/ 14617 h 51323"/>
                <a:gd name="connsiteX623" fmla="*/ 14652 w 51323"/>
                <a:gd name="connsiteY623" fmla="*/ 14617 h 51323"/>
                <a:gd name="connsiteX624" fmla="*/ 14497 w 51323"/>
                <a:gd name="connsiteY624" fmla="*/ 14772 h 51323"/>
                <a:gd name="connsiteX625" fmla="*/ 14360 w 51323"/>
                <a:gd name="connsiteY625" fmla="*/ 14875 h 51323"/>
                <a:gd name="connsiteX626" fmla="*/ 14360 w 51323"/>
                <a:gd name="connsiteY626" fmla="*/ 15012 h 51323"/>
                <a:gd name="connsiteX627" fmla="*/ 13844 w 51323"/>
                <a:gd name="connsiteY627" fmla="*/ 15287 h 51323"/>
                <a:gd name="connsiteX628" fmla="*/ 13844 w 51323"/>
                <a:gd name="connsiteY628" fmla="*/ 15287 h 51323"/>
                <a:gd name="connsiteX629" fmla="*/ 12590 w 51323"/>
                <a:gd name="connsiteY629" fmla="*/ 15407 h 51323"/>
                <a:gd name="connsiteX630" fmla="*/ 12247 w 51323"/>
                <a:gd name="connsiteY630" fmla="*/ 15253 h 51323"/>
                <a:gd name="connsiteX631" fmla="*/ 10426 w 51323"/>
                <a:gd name="connsiteY631" fmla="*/ 16369 h 51323"/>
                <a:gd name="connsiteX632" fmla="*/ 11749 w 51323"/>
                <a:gd name="connsiteY632" fmla="*/ 16369 h 51323"/>
                <a:gd name="connsiteX633" fmla="*/ 11577 w 51323"/>
                <a:gd name="connsiteY633" fmla="*/ 16507 h 51323"/>
                <a:gd name="connsiteX634" fmla="*/ 11577 w 51323"/>
                <a:gd name="connsiteY634" fmla="*/ 16936 h 51323"/>
                <a:gd name="connsiteX635" fmla="*/ 11835 w 51323"/>
                <a:gd name="connsiteY635" fmla="*/ 17125 h 51323"/>
                <a:gd name="connsiteX636" fmla="*/ 11835 w 51323"/>
                <a:gd name="connsiteY636" fmla="*/ 17245 h 51323"/>
                <a:gd name="connsiteX637" fmla="*/ 11251 w 51323"/>
                <a:gd name="connsiteY637" fmla="*/ 17365 h 51323"/>
                <a:gd name="connsiteX638" fmla="*/ 10770 w 51323"/>
                <a:gd name="connsiteY638" fmla="*/ 17743 h 51323"/>
                <a:gd name="connsiteX639" fmla="*/ 10770 w 51323"/>
                <a:gd name="connsiteY639" fmla="*/ 17743 h 51323"/>
                <a:gd name="connsiteX640" fmla="*/ 10770 w 51323"/>
                <a:gd name="connsiteY640" fmla="*/ 17640 h 51323"/>
                <a:gd name="connsiteX641" fmla="*/ 11371 w 51323"/>
                <a:gd name="connsiteY641" fmla="*/ 17280 h 51323"/>
                <a:gd name="connsiteX642" fmla="*/ 11543 w 51323"/>
                <a:gd name="connsiteY642" fmla="*/ 17194 h 51323"/>
                <a:gd name="connsiteX643" fmla="*/ 11543 w 51323"/>
                <a:gd name="connsiteY643" fmla="*/ 16970 h 51323"/>
                <a:gd name="connsiteX644" fmla="*/ 11543 w 51323"/>
                <a:gd name="connsiteY644" fmla="*/ 16970 h 51323"/>
                <a:gd name="connsiteX645" fmla="*/ 11543 w 51323"/>
                <a:gd name="connsiteY645" fmla="*/ 16970 h 51323"/>
                <a:gd name="connsiteX646" fmla="*/ 11233 w 51323"/>
                <a:gd name="connsiteY646" fmla="*/ 16970 h 51323"/>
                <a:gd name="connsiteX647" fmla="*/ 10924 w 51323"/>
                <a:gd name="connsiteY647" fmla="*/ 16970 h 51323"/>
                <a:gd name="connsiteX648" fmla="*/ 10924 w 51323"/>
                <a:gd name="connsiteY648" fmla="*/ 17159 h 51323"/>
                <a:gd name="connsiteX649" fmla="*/ 10924 w 51323"/>
                <a:gd name="connsiteY649" fmla="*/ 17159 h 51323"/>
                <a:gd name="connsiteX650" fmla="*/ 10667 w 51323"/>
                <a:gd name="connsiteY650" fmla="*/ 17159 h 51323"/>
                <a:gd name="connsiteX651" fmla="*/ 10667 w 51323"/>
                <a:gd name="connsiteY651" fmla="*/ 17159 h 51323"/>
                <a:gd name="connsiteX652" fmla="*/ 10478 w 51323"/>
                <a:gd name="connsiteY652" fmla="*/ 17331 h 51323"/>
                <a:gd name="connsiteX653" fmla="*/ 10478 w 51323"/>
                <a:gd name="connsiteY653" fmla="*/ 17331 h 51323"/>
                <a:gd name="connsiteX654" fmla="*/ 10478 w 51323"/>
                <a:gd name="connsiteY654" fmla="*/ 17331 h 51323"/>
                <a:gd name="connsiteX655" fmla="*/ 10478 w 51323"/>
                <a:gd name="connsiteY655" fmla="*/ 17331 h 51323"/>
                <a:gd name="connsiteX656" fmla="*/ 10083 w 51323"/>
                <a:gd name="connsiteY656" fmla="*/ 18001 h 51323"/>
                <a:gd name="connsiteX657" fmla="*/ 9911 w 51323"/>
                <a:gd name="connsiteY657" fmla="*/ 18087 h 51323"/>
                <a:gd name="connsiteX658" fmla="*/ 9808 w 51323"/>
                <a:gd name="connsiteY658" fmla="*/ 18087 h 51323"/>
                <a:gd name="connsiteX659" fmla="*/ 8743 w 51323"/>
                <a:gd name="connsiteY659" fmla="*/ 18980 h 51323"/>
                <a:gd name="connsiteX660" fmla="*/ 8743 w 51323"/>
                <a:gd name="connsiteY660" fmla="*/ 18980 h 51323"/>
                <a:gd name="connsiteX661" fmla="*/ 8743 w 51323"/>
                <a:gd name="connsiteY661" fmla="*/ 18980 h 51323"/>
                <a:gd name="connsiteX662" fmla="*/ 8743 w 51323"/>
                <a:gd name="connsiteY662" fmla="*/ 18740 h 51323"/>
                <a:gd name="connsiteX663" fmla="*/ 8365 w 51323"/>
                <a:gd name="connsiteY663" fmla="*/ 19495 h 51323"/>
                <a:gd name="connsiteX664" fmla="*/ 8365 w 51323"/>
                <a:gd name="connsiteY664" fmla="*/ 19495 h 51323"/>
                <a:gd name="connsiteX665" fmla="*/ 8262 w 51323"/>
                <a:gd name="connsiteY665" fmla="*/ 19650 h 51323"/>
                <a:gd name="connsiteX666" fmla="*/ 8434 w 51323"/>
                <a:gd name="connsiteY666" fmla="*/ 19341 h 51323"/>
                <a:gd name="connsiteX667" fmla="*/ 8434 w 51323"/>
                <a:gd name="connsiteY667" fmla="*/ 19221 h 51323"/>
                <a:gd name="connsiteX668" fmla="*/ 8434 w 51323"/>
                <a:gd name="connsiteY668" fmla="*/ 19221 h 51323"/>
                <a:gd name="connsiteX669" fmla="*/ 8674 w 51323"/>
                <a:gd name="connsiteY669" fmla="*/ 18671 h 51323"/>
                <a:gd name="connsiteX670" fmla="*/ 8365 w 51323"/>
                <a:gd name="connsiteY670" fmla="*/ 19221 h 51323"/>
                <a:gd name="connsiteX671" fmla="*/ 8365 w 51323"/>
                <a:gd name="connsiteY671" fmla="*/ 18929 h 51323"/>
                <a:gd name="connsiteX672" fmla="*/ 8365 w 51323"/>
                <a:gd name="connsiteY672" fmla="*/ 19324 h 51323"/>
                <a:gd name="connsiteX673" fmla="*/ 8365 w 51323"/>
                <a:gd name="connsiteY673" fmla="*/ 19530 h 51323"/>
                <a:gd name="connsiteX674" fmla="*/ 8365 w 51323"/>
                <a:gd name="connsiteY674" fmla="*/ 19650 h 51323"/>
                <a:gd name="connsiteX675" fmla="*/ 8365 w 51323"/>
                <a:gd name="connsiteY675" fmla="*/ 19513 h 51323"/>
                <a:gd name="connsiteX676" fmla="*/ 8365 w 51323"/>
                <a:gd name="connsiteY676" fmla="*/ 19856 h 51323"/>
                <a:gd name="connsiteX677" fmla="*/ 8365 w 51323"/>
                <a:gd name="connsiteY677" fmla="*/ 19856 h 51323"/>
                <a:gd name="connsiteX678" fmla="*/ 8210 w 51323"/>
                <a:gd name="connsiteY678" fmla="*/ 19976 h 51323"/>
                <a:gd name="connsiteX679" fmla="*/ 8210 w 51323"/>
                <a:gd name="connsiteY679" fmla="*/ 20097 h 51323"/>
                <a:gd name="connsiteX680" fmla="*/ 8313 w 51323"/>
                <a:gd name="connsiteY680" fmla="*/ 20234 h 51323"/>
                <a:gd name="connsiteX681" fmla="*/ 8313 w 51323"/>
                <a:gd name="connsiteY681" fmla="*/ 20131 h 51323"/>
                <a:gd name="connsiteX682" fmla="*/ 8176 w 51323"/>
                <a:gd name="connsiteY682" fmla="*/ 20354 h 51323"/>
                <a:gd name="connsiteX683" fmla="*/ 8176 w 51323"/>
                <a:gd name="connsiteY683" fmla="*/ 20251 h 51323"/>
                <a:gd name="connsiteX684" fmla="*/ 8176 w 51323"/>
                <a:gd name="connsiteY684" fmla="*/ 20251 h 51323"/>
                <a:gd name="connsiteX685" fmla="*/ 8176 w 51323"/>
                <a:gd name="connsiteY685" fmla="*/ 20389 h 51323"/>
                <a:gd name="connsiteX686" fmla="*/ 8176 w 51323"/>
                <a:gd name="connsiteY686" fmla="*/ 20389 h 51323"/>
                <a:gd name="connsiteX687" fmla="*/ 8176 w 51323"/>
                <a:gd name="connsiteY687" fmla="*/ 20389 h 51323"/>
                <a:gd name="connsiteX688" fmla="*/ 8176 w 51323"/>
                <a:gd name="connsiteY688" fmla="*/ 20389 h 51323"/>
                <a:gd name="connsiteX689" fmla="*/ 6579 w 51323"/>
                <a:gd name="connsiteY689" fmla="*/ 22982 h 51323"/>
                <a:gd name="connsiteX690" fmla="*/ 6579 w 51323"/>
                <a:gd name="connsiteY690" fmla="*/ 22982 h 51323"/>
                <a:gd name="connsiteX691" fmla="*/ 6579 w 51323"/>
                <a:gd name="connsiteY691" fmla="*/ 22982 h 51323"/>
                <a:gd name="connsiteX692" fmla="*/ 6579 w 51323"/>
                <a:gd name="connsiteY692" fmla="*/ 22982 h 51323"/>
                <a:gd name="connsiteX693" fmla="*/ 6579 w 51323"/>
                <a:gd name="connsiteY693" fmla="*/ 22604 h 51323"/>
                <a:gd name="connsiteX694" fmla="*/ 6579 w 51323"/>
                <a:gd name="connsiteY694" fmla="*/ 22707 h 51323"/>
                <a:gd name="connsiteX695" fmla="*/ 6579 w 51323"/>
                <a:gd name="connsiteY695" fmla="*/ 21745 h 51323"/>
                <a:gd name="connsiteX696" fmla="*/ 6579 w 51323"/>
                <a:gd name="connsiteY696" fmla="*/ 21745 h 51323"/>
                <a:gd name="connsiteX697" fmla="*/ 6579 w 51323"/>
                <a:gd name="connsiteY697" fmla="*/ 21745 h 51323"/>
                <a:gd name="connsiteX698" fmla="*/ 6579 w 51323"/>
                <a:gd name="connsiteY698" fmla="*/ 21745 h 51323"/>
                <a:gd name="connsiteX699" fmla="*/ 6579 w 51323"/>
                <a:gd name="connsiteY699" fmla="*/ 21642 h 51323"/>
                <a:gd name="connsiteX700" fmla="*/ 6579 w 51323"/>
                <a:gd name="connsiteY700" fmla="*/ 21522 h 51323"/>
                <a:gd name="connsiteX701" fmla="*/ 6579 w 51323"/>
                <a:gd name="connsiteY701" fmla="*/ 21522 h 51323"/>
                <a:gd name="connsiteX702" fmla="*/ 6579 w 51323"/>
                <a:gd name="connsiteY702" fmla="*/ 21385 h 51323"/>
                <a:gd name="connsiteX703" fmla="*/ 6579 w 51323"/>
                <a:gd name="connsiteY703" fmla="*/ 21385 h 51323"/>
                <a:gd name="connsiteX704" fmla="*/ 6579 w 51323"/>
                <a:gd name="connsiteY704" fmla="*/ 21385 h 51323"/>
                <a:gd name="connsiteX705" fmla="*/ 6579 w 51323"/>
                <a:gd name="connsiteY705" fmla="*/ 21385 h 51323"/>
                <a:gd name="connsiteX706" fmla="*/ 6579 w 51323"/>
                <a:gd name="connsiteY706" fmla="*/ 21230 h 51323"/>
                <a:gd name="connsiteX707" fmla="*/ 6579 w 51323"/>
                <a:gd name="connsiteY707" fmla="*/ 21333 h 51323"/>
                <a:gd name="connsiteX708" fmla="*/ 6373 w 51323"/>
                <a:gd name="connsiteY708" fmla="*/ 21453 h 51323"/>
                <a:gd name="connsiteX709" fmla="*/ 6373 w 51323"/>
                <a:gd name="connsiteY709" fmla="*/ 21453 h 51323"/>
                <a:gd name="connsiteX710" fmla="*/ 6373 w 51323"/>
                <a:gd name="connsiteY710" fmla="*/ 21849 h 51323"/>
                <a:gd name="connsiteX711" fmla="*/ 6373 w 51323"/>
                <a:gd name="connsiteY711" fmla="*/ 21763 h 51323"/>
                <a:gd name="connsiteX712" fmla="*/ 6373 w 51323"/>
                <a:gd name="connsiteY712" fmla="*/ 21660 h 51323"/>
                <a:gd name="connsiteX713" fmla="*/ 6373 w 51323"/>
                <a:gd name="connsiteY713" fmla="*/ 21350 h 51323"/>
                <a:gd name="connsiteX714" fmla="*/ 6373 w 51323"/>
                <a:gd name="connsiteY714" fmla="*/ 21350 h 51323"/>
                <a:gd name="connsiteX715" fmla="*/ 6184 w 51323"/>
                <a:gd name="connsiteY715" fmla="*/ 21350 h 51323"/>
                <a:gd name="connsiteX716" fmla="*/ 6184 w 51323"/>
                <a:gd name="connsiteY716" fmla="*/ 21127 h 51323"/>
                <a:gd name="connsiteX717" fmla="*/ 6184 w 51323"/>
                <a:gd name="connsiteY717" fmla="*/ 21127 h 51323"/>
                <a:gd name="connsiteX718" fmla="*/ 6184 w 51323"/>
                <a:gd name="connsiteY718" fmla="*/ 21385 h 51323"/>
                <a:gd name="connsiteX719" fmla="*/ 6184 w 51323"/>
                <a:gd name="connsiteY719" fmla="*/ 21385 h 51323"/>
                <a:gd name="connsiteX720" fmla="*/ 6184 w 51323"/>
                <a:gd name="connsiteY720" fmla="*/ 21505 h 51323"/>
                <a:gd name="connsiteX721" fmla="*/ 6184 w 51323"/>
                <a:gd name="connsiteY721" fmla="*/ 21505 h 51323"/>
                <a:gd name="connsiteX722" fmla="*/ 6184 w 51323"/>
                <a:gd name="connsiteY722" fmla="*/ 21505 h 51323"/>
                <a:gd name="connsiteX723" fmla="*/ 6184 w 51323"/>
                <a:gd name="connsiteY723" fmla="*/ 21505 h 51323"/>
                <a:gd name="connsiteX724" fmla="*/ 6184 w 51323"/>
                <a:gd name="connsiteY724" fmla="*/ 21505 h 51323"/>
                <a:gd name="connsiteX725" fmla="*/ 6184 w 51323"/>
                <a:gd name="connsiteY725" fmla="*/ 21505 h 51323"/>
                <a:gd name="connsiteX726" fmla="*/ 6184 w 51323"/>
                <a:gd name="connsiteY726" fmla="*/ 21608 h 51323"/>
                <a:gd name="connsiteX727" fmla="*/ 6184 w 51323"/>
                <a:gd name="connsiteY727" fmla="*/ 21608 h 51323"/>
                <a:gd name="connsiteX728" fmla="*/ 5943 w 51323"/>
                <a:gd name="connsiteY728" fmla="*/ 22553 h 51323"/>
                <a:gd name="connsiteX729" fmla="*/ 5943 w 51323"/>
                <a:gd name="connsiteY729" fmla="*/ 22398 h 51323"/>
                <a:gd name="connsiteX730" fmla="*/ 5943 w 51323"/>
                <a:gd name="connsiteY730" fmla="*/ 22621 h 51323"/>
                <a:gd name="connsiteX731" fmla="*/ 5703 w 51323"/>
                <a:gd name="connsiteY731" fmla="*/ 24116 h 51323"/>
                <a:gd name="connsiteX732" fmla="*/ 5703 w 51323"/>
                <a:gd name="connsiteY732" fmla="*/ 25507 h 51323"/>
                <a:gd name="connsiteX733" fmla="*/ 5703 w 51323"/>
                <a:gd name="connsiteY733" fmla="*/ 25507 h 51323"/>
                <a:gd name="connsiteX734" fmla="*/ 5703 w 51323"/>
                <a:gd name="connsiteY734" fmla="*/ 25421 h 51323"/>
                <a:gd name="connsiteX735" fmla="*/ 5703 w 51323"/>
                <a:gd name="connsiteY735" fmla="*/ 25421 h 51323"/>
                <a:gd name="connsiteX736" fmla="*/ 5703 w 51323"/>
                <a:gd name="connsiteY736" fmla="*/ 25421 h 51323"/>
                <a:gd name="connsiteX737" fmla="*/ 5703 w 51323"/>
                <a:gd name="connsiteY737" fmla="*/ 25421 h 51323"/>
                <a:gd name="connsiteX738" fmla="*/ 5703 w 51323"/>
                <a:gd name="connsiteY738" fmla="*/ 25627 h 51323"/>
                <a:gd name="connsiteX739" fmla="*/ 5703 w 51323"/>
                <a:gd name="connsiteY739" fmla="*/ 25627 h 51323"/>
                <a:gd name="connsiteX740" fmla="*/ 5703 w 51323"/>
                <a:gd name="connsiteY740" fmla="*/ 25627 h 51323"/>
                <a:gd name="connsiteX741" fmla="*/ 5703 w 51323"/>
                <a:gd name="connsiteY741" fmla="*/ 25404 h 51323"/>
                <a:gd name="connsiteX742" fmla="*/ 5703 w 51323"/>
                <a:gd name="connsiteY742" fmla="*/ 25404 h 51323"/>
                <a:gd name="connsiteX743" fmla="*/ 5995 w 51323"/>
                <a:gd name="connsiteY743" fmla="*/ 24665 h 51323"/>
                <a:gd name="connsiteX744" fmla="*/ 5995 w 51323"/>
                <a:gd name="connsiteY744" fmla="*/ 24665 h 51323"/>
                <a:gd name="connsiteX745" fmla="*/ 5995 w 51323"/>
                <a:gd name="connsiteY745" fmla="*/ 24665 h 51323"/>
                <a:gd name="connsiteX746" fmla="*/ 5995 w 51323"/>
                <a:gd name="connsiteY746" fmla="*/ 24665 h 51323"/>
                <a:gd name="connsiteX747" fmla="*/ 5857 w 51323"/>
                <a:gd name="connsiteY747" fmla="*/ 25593 h 51323"/>
                <a:gd name="connsiteX748" fmla="*/ 5857 w 51323"/>
                <a:gd name="connsiteY748" fmla="*/ 25919 h 51323"/>
                <a:gd name="connsiteX749" fmla="*/ 5101 w 51323"/>
                <a:gd name="connsiteY749" fmla="*/ 26521 h 51323"/>
                <a:gd name="connsiteX750" fmla="*/ 4500 w 51323"/>
                <a:gd name="connsiteY750" fmla="*/ 25765 h 51323"/>
                <a:gd name="connsiteX751" fmla="*/ 4397 w 51323"/>
                <a:gd name="connsiteY751" fmla="*/ 26658 h 51323"/>
                <a:gd name="connsiteX752" fmla="*/ 4397 w 51323"/>
                <a:gd name="connsiteY752" fmla="*/ 26658 h 51323"/>
                <a:gd name="connsiteX753" fmla="*/ 4397 w 51323"/>
                <a:gd name="connsiteY753" fmla="*/ 26864 h 51323"/>
                <a:gd name="connsiteX754" fmla="*/ 4397 w 51323"/>
                <a:gd name="connsiteY754" fmla="*/ 26864 h 51323"/>
                <a:gd name="connsiteX755" fmla="*/ 4397 w 51323"/>
                <a:gd name="connsiteY755" fmla="*/ 26950 h 51323"/>
                <a:gd name="connsiteX756" fmla="*/ 4586 w 51323"/>
                <a:gd name="connsiteY756" fmla="*/ 26950 h 51323"/>
                <a:gd name="connsiteX757" fmla="*/ 4724 w 51323"/>
                <a:gd name="connsiteY757" fmla="*/ 27190 h 51323"/>
                <a:gd name="connsiteX758" fmla="*/ 4724 w 51323"/>
                <a:gd name="connsiteY758" fmla="*/ 27190 h 51323"/>
                <a:gd name="connsiteX759" fmla="*/ 4724 w 51323"/>
                <a:gd name="connsiteY759" fmla="*/ 27345 h 51323"/>
                <a:gd name="connsiteX760" fmla="*/ 4724 w 51323"/>
                <a:gd name="connsiteY760" fmla="*/ 27448 h 51323"/>
                <a:gd name="connsiteX761" fmla="*/ 4724 w 51323"/>
                <a:gd name="connsiteY761" fmla="*/ 27448 h 51323"/>
                <a:gd name="connsiteX762" fmla="*/ 4724 w 51323"/>
                <a:gd name="connsiteY762" fmla="*/ 28152 h 51323"/>
                <a:gd name="connsiteX763" fmla="*/ 4724 w 51323"/>
                <a:gd name="connsiteY763" fmla="*/ 28152 h 51323"/>
                <a:gd name="connsiteX764" fmla="*/ 4724 w 51323"/>
                <a:gd name="connsiteY764" fmla="*/ 28616 h 51323"/>
                <a:gd name="connsiteX765" fmla="*/ 4724 w 51323"/>
                <a:gd name="connsiteY765" fmla="*/ 28444 h 51323"/>
                <a:gd name="connsiteX766" fmla="*/ 4724 w 51323"/>
                <a:gd name="connsiteY766" fmla="*/ 28805 h 51323"/>
                <a:gd name="connsiteX767" fmla="*/ 4724 w 51323"/>
                <a:gd name="connsiteY767" fmla="*/ 28719 h 51323"/>
                <a:gd name="connsiteX768" fmla="*/ 4724 w 51323"/>
                <a:gd name="connsiteY768" fmla="*/ 29149 h 51323"/>
                <a:gd name="connsiteX769" fmla="*/ 4930 w 51323"/>
                <a:gd name="connsiteY769" fmla="*/ 29733 h 51323"/>
                <a:gd name="connsiteX770" fmla="*/ 5634 w 51323"/>
                <a:gd name="connsiteY770" fmla="*/ 30471 h 51323"/>
                <a:gd name="connsiteX771" fmla="*/ 5960 w 51323"/>
                <a:gd name="connsiteY771" fmla="*/ 29595 h 51323"/>
                <a:gd name="connsiteX772" fmla="*/ 5960 w 51323"/>
                <a:gd name="connsiteY772" fmla="*/ 29475 h 51323"/>
                <a:gd name="connsiteX773" fmla="*/ 6355 w 51323"/>
                <a:gd name="connsiteY773" fmla="*/ 29234 h 51323"/>
                <a:gd name="connsiteX774" fmla="*/ 6355 w 51323"/>
                <a:gd name="connsiteY774" fmla="*/ 30145 h 51323"/>
                <a:gd name="connsiteX775" fmla="*/ 6665 w 51323"/>
                <a:gd name="connsiteY775" fmla="*/ 29664 h 51323"/>
                <a:gd name="connsiteX776" fmla="*/ 6665 w 51323"/>
                <a:gd name="connsiteY776" fmla="*/ 29441 h 51323"/>
                <a:gd name="connsiteX777" fmla="*/ 6785 w 51323"/>
                <a:gd name="connsiteY777" fmla="*/ 29733 h 51323"/>
                <a:gd name="connsiteX778" fmla="*/ 7060 w 51323"/>
                <a:gd name="connsiteY778" fmla="*/ 30007 h 51323"/>
                <a:gd name="connsiteX779" fmla="*/ 7472 w 51323"/>
                <a:gd name="connsiteY779" fmla="*/ 30196 h 51323"/>
                <a:gd name="connsiteX780" fmla="*/ 8262 w 51323"/>
                <a:gd name="connsiteY780" fmla="*/ 30402 h 51323"/>
                <a:gd name="connsiteX781" fmla="*/ 8262 w 51323"/>
                <a:gd name="connsiteY781" fmla="*/ 30643 h 51323"/>
                <a:gd name="connsiteX782" fmla="*/ 8434 w 51323"/>
                <a:gd name="connsiteY782" fmla="*/ 31107 h 51323"/>
                <a:gd name="connsiteX783" fmla="*/ 9189 w 51323"/>
                <a:gd name="connsiteY783" fmla="*/ 32000 h 51323"/>
                <a:gd name="connsiteX784" fmla="*/ 9550 w 51323"/>
                <a:gd name="connsiteY784" fmla="*/ 32309 h 51323"/>
                <a:gd name="connsiteX785" fmla="*/ 10220 w 51323"/>
                <a:gd name="connsiteY785" fmla="*/ 32532 h 51323"/>
                <a:gd name="connsiteX786" fmla="*/ 10856 w 51323"/>
                <a:gd name="connsiteY786" fmla="*/ 33151 h 51323"/>
                <a:gd name="connsiteX787" fmla="*/ 11302 w 51323"/>
                <a:gd name="connsiteY787" fmla="*/ 33924 h 51323"/>
                <a:gd name="connsiteX788" fmla="*/ 11045 w 51323"/>
                <a:gd name="connsiteY788" fmla="*/ 34868 h 51323"/>
                <a:gd name="connsiteX789" fmla="*/ 11148 w 51323"/>
                <a:gd name="connsiteY789" fmla="*/ 34868 h 51323"/>
                <a:gd name="connsiteX790" fmla="*/ 11337 w 51323"/>
                <a:gd name="connsiteY790" fmla="*/ 34731 h 51323"/>
                <a:gd name="connsiteX791" fmla="*/ 11337 w 51323"/>
                <a:gd name="connsiteY791" fmla="*/ 34731 h 51323"/>
                <a:gd name="connsiteX792" fmla="*/ 11337 w 51323"/>
                <a:gd name="connsiteY792" fmla="*/ 35092 h 51323"/>
                <a:gd name="connsiteX793" fmla="*/ 11680 w 51323"/>
                <a:gd name="connsiteY793" fmla="*/ 35624 h 51323"/>
                <a:gd name="connsiteX794" fmla="*/ 12419 w 51323"/>
                <a:gd name="connsiteY794" fmla="*/ 35074 h 51323"/>
                <a:gd name="connsiteX795" fmla="*/ 12642 w 51323"/>
                <a:gd name="connsiteY795" fmla="*/ 35263 h 51323"/>
                <a:gd name="connsiteX796" fmla="*/ 12882 w 51323"/>
                <a:gd name="connsiteY796" fmla="*/ 35469 h 51323"/>
                <a:gd name="connsiteX797" fmla="*/ 12968 w 51323"/>
                <a:gd name="connsiteY797" fmla="*/ 35830 h 51323"/>
                <a:gd name="connsiteX798" fmla="*/ 12968 w 51323"/>
                <a:gd name="connsiteY798" fmla="*/ 35710 h 51323"/>
                <a:gd name="connsiteX799" fmla="*/ 12968 w 51323"/>
                <a:gd name="connsiteY799" fmla="*/ 35504 h 51323"/>
                <a:gd name="connsiteX800" fmla="*/ 13363 w 51323"/>
                <a:gd name="connsiteY800" fmla="*/ 35641 h 51323"/>
                <a:gd name="connsiteX801" fmla="*/ 13466 w 51323"/>
                <a:gd name="connsiteY801" fmla="*/ 35744 h 51323"/>
                <a:gd name="connsiteX802" fmla="*/ 13466 w 51323"/>
                <a:gd name="connsiteY802" fmla="*/ 35744 h 51323"/>
                <a:gd name="connsiteX803" fmla="*/ 13466 w 51323"/>
                <a:gd name="connsiteY803" fmla="*/ 35744 h 51323"/>
                <a:gd name="connsiteX804" fmla="*/ 13466 w 51323"/>
                <a:gd name="connsiteY804" fmla="*/ 35744 h 51323"/>
                <a:gd name="connsiteX805" fmla="*/ 14926 w 51323"/>
                <a:gd name="connsiteY805" fmla="*/ 38922 h 51323"/>
                <a:gd name="connsiteX806" fmla="*/ 14926 w 51323"/>
                <a:gd name="connsiteY806" fmla="*/ 38819 h 51323"/>
                <a:gd name="connsiteX807" fmla="*/ 14806 w 51323"/>
                <a:gd name="connsiteY807" fmla="*/ 38819 h 51323"/>
                <a:gd name="connsiteX808" fmla="*/ 14806 w 51323"/>
                <a:gd name="connsiteY808" fmla="*/ 38819 h 51323"/>
                <a:gd name="connsiteX809" fmla="*/ 14806 w 51323"/>
                <a:gd name="connsiteY809" fmla="*/ 41447 h 51323"/>
                <a:gd name="connsiteX810" fmla="*/ 14806 w 51323"/>
                <a:gd name="connsiteY810" fmla="*/ 41447 h 51323"/>
                <a:gd name="connsiteX811" fmla="*/ 14600 w 51323"/>
                <a:gd name="connsiteY811" fmla="*/ 41447 h 51323"/>
                <a:gd name="connsiteX812" fmla="*/ 14600 w 51323"/>
                <a:gd name="connsiteY812" fmla="*/ 41687 h 51323"/>
                <a:gd name="connsiteX813" fmla="*/ 14154 w 51323"/>
                <a:gd name="connsiteY813" fmla="*/ 41962 h 51323"/>
                <a:gd name="connsiteX814" fmla="*/ 14154 w 51323"/>
                <a:gd name="connsiteY814" fmla="*/ 41962 h 51323"/>
                <a:gd name="connsiteX815" fmla="*/ 14154 w 51323"/>
                <a:gd name="connsiteY815" fmla="*/ 42048 h 51323"/>
                <a:gd name="connsiteX816" fmla="*/ 14154 w 51323"/>
                <a:gd name="connsiteY816" fmla="*/ 42048 h 51323"/>
                <a:gd name="connsiteX817" fmla="*/ 14411 w 51323"/>
                <a:gd name="connsiteY817" fmla="*/ 42529 h 51323"/>
                <a:gd name="connsiteX818" fmla="*/ 14411 w 51323"/>
                <a:gd name="connsiteY818" fmla="*/ 43336 h 51323"/>
                <a:gd name="connsiteX819" fmla="*/ 14411 w 51323"/>
                <a:gd name="connsiteY819" fmla="*/ 43250 h 51323"/>
                <a:gd name="connsiteX820" fmla="*/ 14411 w 51323"/>
                <a:gd name="connsiteY820" fmla="*/ 43113 h 51323"/>
                <a:gd name="connsiteX821" fmla="*/ 14171 w 51323"/>
                <a:gd name="connsiteY821" fmla="*/ 42924 h 51323"/>
                <a:gd name="connsiteX822" fmla="*/ 14325 w 51323"/>
                <a:gd name="connsiteY822" fmla="*/ 43113 h 51323"/>
                <a:gd name="connsiteX823" fmla="*/ 14325 w 51323"/>
                <a:gd name="connsiteY823" fmla="*/ 43250 h 51323"/>
                <a:gd name="connsiteX824" fmla="*/ 13844 w 51323"/>
                <a:gd name="connsiteY824" fmla="*/ 43817 h 51323"/>
                <a:gd name="connsiteX825" fmla="*/ 14549 w 51323"/>
                <a:gd name="connsiteY825" fmla="*/ 44418 h 51323"/>
                <a:gd name="connsiteX826" fmla="*/ 14549 w 51323"/>
                <a:gd name="connsiteY826" fmla="*/ 44418 h 51323"/>
                <a:gd name="connsiteX827" fmla="*/ 14755 w 51323"/>
                <a:gd name="connsiteY827" fmla="*/ 44693 h 51323"/>
                <a:gd name="connsiteX828" fmla="*/ 14755 w 51323"/>
                <a:gd name="connsiteY828" fmla="*/ 44693 h 51323"/>
                <a:gd name="connsiteX829" fmla="*/ 14755 w 51323"/>
                <a:gd name="connsiteY829" fmla="*/ 44882 h 51323"/>
                <a:gd name="connsiteX830" fmla="*/ 14291 w 51323"/>
                <a:gd name="connsiteY830" fmla="*/ 44882 h 51323"/>
                <a:gd name="connsiteX831" fmla="*/ 14566 w 51323"/>
                <a:gd name="connsiteY831" fmla="*/ 45123 h 51323"/>
                <a:gd name="connsiteX832" fmla="*/ 14566 w 51323"/>
                <a:gd name="connsiteY832" fmla="*/ 45123 h 51323"/>
                <a:gd name="connsiteX833" fmla="*/ 14463 w 51323"/>
                <a:gd name="connsiteY833" fmla="*/ 45294 h 51323"/>
                <a:gd name="connsiteX834" fmla="*/ 15012 w 51323"/>
                <a:gd name="connsiteY834" fmla="*/ 45707 h 51323"/>
                <a:gd name="connsiteX835" fmla="*/ 15012 w 51323"/>
                <a:gd name="connsiteY835" fmla="*/ 45707 h 51323"/>
                <a:gd name="connsiteX836" fmla="*/ 15012 w 51323"/>
                <a:gd name="connsiteY836" fmla="*/ 45707 h 51323"/>
                <a:gd name="connsiteX837" fmla="*/ 15717 w 51323"/>
                <a:gd name="connsiteY837" fmla="*/ 46359 h 51323"/>
                <a:gd name="connsiteX838" fmla="*/ 15717 w 51323"/>
                <a:gd name="connsiteY838" fmla="*/ 46359 h 51323"/>
                <a:gd name="connsiteX839" fmla="*/ 15717 w 51323"/>
                <a:gd name="connsiteY839" fmla="*/ 46359 h 51323"/>
                <a:gd name="connsiteX840" fmla="*/ 15717 w 51323"/>
                <a:gd name="connsiteY840" fmla="*/ 46359 h 51323"/>
                <a:gd name="connsiteX841" fmla="*/ 16730 w 51323"/>
                <a:gd name="connsiteY841" fmla="*/ 47012 h 51323"/>
                <a:gd name="connsiteX842" fmla="*/ 16730 w 51323"/>
                <a:gd name="connsiteY842" fmla="*/ 47012 h 51323"/>
                <a:gd name="connsiteX843" fmla="*/ 16730 w 51323"/>
                <a:gd name="connsiteY843" fmla="*/ 47012 h 51323"/>
                <a:gd name="connsiteX844" fmla="*/ 16730 w 51323"/>
                <a:gd name="connsiteY844" fmla="*/ 47012 h 51323"/>
                <a:gd name="connsiteX845" fmla="*/ 16885 w 51323"/>
                <a:gd name="connsiteY845" fmla="*/ 47132 h 51323"/>
                <a:gd name="connsiteX846" fmla="*/ 16885 w 51323"/>
                <a:gd name="connsiteY846" fmla="*/ 47132 h 51323"/>
                <a:gd name="connsiteX847" fmla="*/ 17091 w 51323"/>
                <a:gd name="connsiteY847" fmla="*/ 47270 h 51323"/>
                <a:gd name="connsiteX848" fmla="*/ 16988 w 51323"/>
                <a:gd name="connsiteY848" fmla="*/ 47270 h 51323"/>
                <a:gd name="connsiteX849" fmla="*/ 17898 w 51323"/>
                <a:gd name="connsiteY849" fmla="*/ 47751 h 51323"/>
                <a:gd name="connsiteX850" fmla="*/ 17898 w 51323"/>
                <a:gd name="connsiteY850" fmla="*/ 47751 h 51323"/>
                <a:gd name="connsiteX851" fmla="*/ 17898 w 51323"/>
                <a:gd name="connsiteY851" fmla="*/ 47751 h 51323"/>
                <a:gd name="connsiteX852" fmla="*/ 17898 w 51323"/>
                <a:gd name="connsiteY852" fmla="*/ 47751 h 51323"/>
                <a:gd name="connsiteX853" fmla="*/ 18396 w 51323"/>
                <a:gd name="connsiteY853" fmla="*/ 48008 h 51323"/>
                <a:gd name="connsiteX854" fmla="*/ 18173 w 51323"/>
                <a:gd name="connsiteY854" fmla="*/ 48008 h 51323"/>
                <a:gd name="connsiteX855" fmla="*/ 20560 w 51323"/>
                <a:gd name="connsiteY855" fmla="*/ 10117 h 51323"/>
                <a:gd name="connsiteX856" fmla="*/ 20560 w 51323"/>
                <a:gd name="connsiteY856" fmla="*/ 9980 h 51323"/>
                <a:gd name="connsiteX857" fmla="*/ 20286 w 51323"/>
                <a:gd name="connsiteY857" fmla="*/ 10323 h 51323"/>
                <a:gd name="connsiteX858" fmla="*/ 19289 w 51323"/>
                <a:gd name="connsiteY858" fmla="*/ 10907 h 51323"/>
                <a:gd name="connsiteX859" fmla="*/ 19152 w 51323"/>
                <a:gd name="connsiteY859" fmla="*/ 11165 h 51323"/>
                <a:gd name="connsiteX860" fmla="*/ 19152 w 51323"/>
                <a:gd name="connsiteY860" fmla="*/ 11165 h 51323"/>
                <a:gd name="connsiteX861" fmla="*/ 18997 w 51323"/>
                <a:gd name="connsiteY861" fmla="*/ 11165 h 51323"/>
                <a:gd name="connsiteX862" fmla="*/ 18585 w 51323"/>
                <a:gd name="connsiteY862" fmla="*/ 11577 h 51323"/>
                <a:gd name="connsiteX863" fmla="*/ 18259 w 51323"/>
                <a:gd name="connsiteY863" fmla="*/ 11903 h 51323"/>
                <a:gd name="connsiteX864" fmla="*/ 18001 w 51323"/>
                <a:gd name="connsiteY864" fmla="*/ 12109 h 51323"/>
                <a:gd name="connsiteX865" fmla="*/ 17743 w 51323"/>
                <a:gd name="connsiteY865" fmla="*/ 12006 h 51323"/>
                <a:gd name="connsiteX866" fmla="*/ 17503 w 51323"/>
                <a:gd name="connsiteY866" fmla="*/ 11783 h 51323"/>
                <a:gd name="connsiteX867" fmla="*/ 18018 w 51323"/>
                <a:gd name="connsiteY867" fmla="*/ 10461 h 51323"/>
                <a:gd name="connsiteX868" fmla="*/ 18448 w 51323"/>
                <a:gd name="connsiteY868" fmla="*/ 10134 h 51323"/>
                <a:gd name="connsiteX869" fmla="*/ 18448 w 51323"/>
                <a:gd name="connsiteY869" fmla="*/ 9739 h 51323"/>
                <a:gd name="connsiteX870" fmla="*/ 18345 w 51323"/>
                <a:gd name="connsiteY870" fmla="*/ 9739 h 51323"/>
                <a:gd name="connsiteX871" fmla="*/ 18963 w 51323"/>
                <a:gd name="connsiteY871" fmla="*/ 9344 h 51323"/>
                <a:gd name="connsiteX872" fmla="*/ 18774 w 51323"/>
                <a:gd name="connsiteY872" fmla="*/ 9104 h 51323"/>
                <a:gd name="connsiteX873" fmla="*/ 19324 w 51323"/>
                <a:gd name="connsiteY873" fmla="*/ 9104 h 51323"/>
                <a:gd name="connsiteX874" fmla="*/ 19324 w 51323"/>
                <a:gd name="connsiteY874" fmla="*/ 8966 h 51323"/>
                <a:gd name="connsiteX875" fmla="*/ 18946 w 51323"/>
                <a:gd name="connsiteY875" fmla="*/ 8966 h 51323"/>
                <a:gd name="connsiteX876" fmla="*/ 19598 w 51323"/>
                <a:gd name="connsiteY876" fmla="*/ 8674 h 51323"/>
                <a:gd name="connsiteX877" fmla="*/ 19598 w 51323"/>
                <a:gd name="connsiteY877" fmla="*/ 8674 h 51323"/>
                <a:gd name="connsiteX878" fmla="*/ 20182 w 51323"/>
                <a:gd name="connsiteY878" fmla="*/ 8193 h 51323"/>
                <a:gd name="connsiteX879" fmla="*/ 20354 w 51323"/>
                <a:gd name="connsiteY879" fmla="*/ 7953 h 51323"/>
                <a:gd name="connsiteX880" fmla="*/ 20560 w 51323"/>
                <a:gd name="connsiteY880" fmla="*/ 7764 h 51323"/>
                <a:gd name="connsiteX881" fmla="*/ 20681 w 51323"/>
                <a:gd name="connsiteY881" fmla="*/ 7386 h 51323"/>
                <a:gd name="connsiteX882" fmla="*/ 21746 w 51323"/>
                <a:gd name="connsiteY882" fmla="*/ 6338 h 51323"/>
                <a:gd name="connsiteX883" fmla="*/ 22914 w 51323"/>
                <a:gd name="connsiteY883" fmla="*/ 4981 h 51323"/>
                <a:gd name="connsiteX884" fmla="*/ 23326 w 51323"/>
                <a:gd name="connsiteY884" fmla="*/ 4844 h 51323"/>
                <a:gd name="connsiteX885" fmla="*/ 26761 w 51323"/>
                <a:gd name="connsiteY885" fmla="*/ 3693 h 51323"/>
                <a:gd name="connsiteX886" fmla="*/ 26881 w 51323"/>
                <a:gd name="connsiteY886" fmla="*/ 3693 h 51323"/>
                <a:gd name="connsiteX887" fmla="*/ 26607 w 51323"/>
                <a:gd name="connsiteY887" fmla="*/ 3951 h 51323"/>
                <a:gd name="connsiteX888" fmla="*/ 26211 w 51323"/>
                <a:gd name="connsiteY888" fmla="*/ 4208 h 51323"/>
                <a:gd name="connsiteX889" fmla="*/ 26211 w 51323"/>
                <a:gd name="connsiteY889" fmla="*/ 4329 h 51323"/>
                <a:gd name="connsiteX890" fmla="*/ 26074 w 51323"/>
                <a:gd name="connsiteY890" fmla="*/ 4500 h 51323"/>
                <a:gd name="connsiteX891" fmla="*/ 26383 w 51323"/>
                <a:gd name="connsiteY891" fmla="*/ 4621 h 51323"/>
                <a:gd name="connsiteX892" fmla="*/ 26057 w 51323"/>
                <a:gd name="connsiteY892" fmla="*/ 4947 h 51323"/>
                <a:gd name="connsiteX893" fmla="*/ 25301 w 51323"/>
                <a:gd name="connsiteY893" fmla="*/ 6235 h 51323"/>
                <a:gd name="connsiteX894" fmla="*/ 25112 w 51323"/>
                <a:gd name="connsiteY894" fmla="*/ 6373 h 51323"/>
                <a:gd name="connsiteX895" fmla="*/ 25009 w 51323"/>
                <a:gd name="connsiteY895" fmla="*/ 6596 h 51323"/>
                <a:gd name="connsiteX896" fmla="*/ 24751 w 51323"/>
                <a:gd name="connsiteY896" fmla="*/ 6596 h 51323"/>
                <a:gd name="connsiteX897" fmla="*/ 24751 w 51323"/>
                <a:gd name="connsiteY897" fmla="*/ 6768 h 51323"/>
                <a:gd name="connsiteX898" fmla="*/ 24751 w 51323"/>
                <a:gd name="connsiteY898" fmla="*/ 7180 h 51323"/>
                <a:gd name="connsiteX899" fmla="*/ 24442 w 51323"/>
                <a:gd name="connsiteY899" fmla="*/ 7489 h 51323"/>
                <a:gd name="connsiteX900" fmla="*/ 24133 w 51323"/>
                <a:gd name="connsiteY900" fmla="*/ 7489 h 51323"/>
                <a:gd name="connsiteX901" fmla="*/ 23738 w 51323"/>
                <a:gd name="connsiteY901" fmla="*/ 7626 h 51323"/>
                <a:gd name="connsiteX902" fmla="*/ 23738 w 51323"/>
                <a:gd name="connsiteY902" fmla="*/ 7781 h 51323"/>
                <a:gd name="connsiteX903" fmla="*/ 23824 w 51323"/>
                <a:gd name="connsiteY903" fmla="*/ 7987 h 51323"/>
                <a:gd name="connsiteX904" fmla="*/ 23583 w 51323"/>
                <a:gd name="connsiteY904" fmla="*/ 8262 h 51323"/>
                <a:gd name="connsiteX905" fmla="*/ 23137 w 51323"/>
                <a:gd name="connsiteY905" fmla="*/ 8520 h 51323"/>
                <a:gd name="connsiteX906" fmla="*/ 22931 w 51323"/>
                <a:gd name="connsiteY906" fmla="*/ 8726 h 51323"/>
                <a:gd name="connsiteX907" fmla="*/ 22931 w 51323"/>
                <a:gd name="connsiteY907" fmla="*/ 8846 h 51323"/>
                <a:gd name="connsiteX908" fmla="*/ 23446 w 51323"/>
                <a:gd name="connsiteY908" fmla="*/ 9121 h 51323"/>
                <a:gd name="connsiteX909" fmla="*/ 23137 w 51323"/>
                <a:gd name="connsiteY909" fmla="*/ 9275 h 51323"/>
                <a:gd name="connsiteX910" fmla="*/ 21952 w 51323"/>
                <a:gd name="connsiteY910" fmla="*/ 9396 h 51323"/>
                <a:gd name="connsiteX911" fmla="*/ 21831 w 51323"/>
                <a:gd name="connsiteY911" fmla="*/ 9653 h 51323"/>
                <a:gd name="connsiteX912" fmla="*/ 20560 w 51323"/>
                <a:gd name="connsiteY912" fmla="*/ 10117 h 51323"/>
                <a:gd name="connsiteX913" fmla="*/ 23669 w 51323"/>
                <a:gd name="connsiteY913" fmla="*/ 11440 h 51323"/>
                <a:gd name="connsiteX914" fmla="*/ 23412 w 51323"/>
                <a:gd name="connsiteY914" fmla="*/ 11440 h 51323"/>
                <a:gd name="connsiteX915" fmla="*/ 23274 w 51323"/>
                <a:gd name="connsiteY915" fmla="*/ 11319 h 51323"/>
                <a:gd name="connsiteX916" fmla="*/ 23274 w 51323"/>
                <a:gd name="connsiteY916" fmla="*/ 11319 h 51323"/>
                <a:gd name="connsiteX917" fmla="*/ 22965 w 51323"/>
                <a:gd name="connsiteY917" fmla="*/ 11319 h 51323"/>
                <a:gd name="connsiteX918" fmla="*/ 22965 w 51323"/>
                <a:gd name="connsiteY918" fmla="*/ 11319 h 51323"/>
                <a:gd name="connsiteX919" fmla="*/ 22965 w 51323"/>
                <a:gd name="connsiteY919" fmla="*/ 11233 h 51323"/>
                <a:gd name="connsiteX920" fmla="*/ 22965 w 51323"/>
                <a:gd name="connsiteY920" fmla="*/ 11233 h 51323"/>
                <a:gd name="connsiteX921" fmla="*/ 23206 w 51323"/>
                <a:gd name="connsiteY921" fmla="*/ 11148 h 51323"/>
                <a:gd name="connsiteX922" fmla="*/ 23206 w 51323"/>
                <a:gd name="connsiteY922" fmla="*/ 11027 h 51323"/>
                <a:gd name="connsiteX923" fmla="*/ 23206 w 51323"/>
                <a:gd name="connsiteY923" fmla="*/ 10941 h 51323"/>
                <a:gd name="connsiteX924" fmla="*/ 22948 w 51323"/>
                <a:gd name="connsiteY924" fmla="*/ 10821 h 51323"/>
                <a:gd name="connsiteX925" fmla="*/ 23223 w 51323"/>
                <a:gd name="connsiteY925" fmla="*/ 10821 h 51323"/>
                <a:gd name="connsiteX926" fmla="*/ 23412 w 51323"/>
                <a:gd name="connsiteY926" fmla="*/ 10718 h 51323"/>
                <a:gd name="connsiteX927" fmla="*/ 23412 w 51323"/>
                <a:gd name="connsiteY927" fmla="*/ 10718 h 51323"/>
                <a:gd name="connsiteX928" fmla="*/ 23412 w 51323"/>
                <a:gd name="connsiteY928" fmla="*/ 10632 h 51323"/>
                <a:gd name="connsiteX929" fmla="*/ 23412 w 51323"/>
                <a:gd name="connsiteY929" fmla="*/ 10632 h 51323"/>
                <a:gd name="connsiteX930" fmla="*/ 23412 w 51323"/>
                <a:gd name="connsiteY930" fmla="*/ 10632 h 51323"/>
                <a:gd name="connsiteX931" fmla="*/ 23412 w 51323"/>
                <a:gd name="connsiteY931" fmla="*/ 10632 h 51323"/>
                <a:gd name="connsiteX932" fmla="*/ 23291 w 51323"/>
                <a:gd name="connsiteY932" fmla="*/ 10632 h 51323"/>
                <a:gd name="connsiteX933" fmla="*/ 23291 w 51323"/>
                <a:gd name="connsiteY933" fmla="*/ 10632 h 51323"/>
                <a:gd name="connsiteX934" fmla="*/ 23291 w 51323"/>
                <a:gd name="connsiteY934" fmla="*/ 10632 h 51323"/>
                <a:gd name="connsiteX935" fmla="*/ 23291 w 51323"/>
                <a:gd name="connsiteY935" fmla="*/ 10632 h 51323"/>
                <a:gd name="connsiteX936" fmla="*/ 23291 w 51323"/>
                <a:gd name="connsiteY936" fmla="*/ 10632 h 51323"/>
                <a:gd name="connsiteX937" fmla="*/ 23291 w 51323"/>
                <a:gd name="connsiteY937" fmla="*/ 10632 h 51323"/>
                <a:gd name="connsiteX938" fmla="*/ 23291 w 51323"/>
                <a:gd name="connsiteY938" fmla="*/ 10632 h 51323"/>
                <a:gd name="connsiteX939" fmla="*/ 23291 w 51323"/>
                <a:gd name="connsiteY939" fmla="*/ 10478 h 51323"/>
                <a:gd name="connsiteX940" fmla="*/ 23291 w 51323"/>
                <a:gd name="connsiteY940" fmla="*/ 10581 h 51323"/>
                <a:gd name="connsiteX941" fmla="*/ 23291 w 51323"/>
                <a:gd name="connsiteY941" fmla="*/ 10581 h 51323"/>
                <a:gd name="connsiteX942" fmla="*/ 23291 w 51323"/>
                <a:gd name="connsiteY942" fmla="*/ 10581 h 51323"/>
                <a:gd name="connsiteX943" fmla="*/ 23291 w 51323"/>
                <a:gd name="connsiteY943" fmla="*/ 10667 h 51323"/>
                <a:gd name="connsiteX944" fmla="*/ 23291 w 51323"/>
                <a:gd name="connsiteY944" fmla="*/ 10787 h 51323"/>
                <a:gd name="connsiteX945" fmla="*/ 23291 w 51323"/>
                <a:gd name="connsiteY945" fmla="*/ 10873 h 51323"/>
                <a:gd name="connsiteX946" fmla="*/ 23429 w 51323"/>
                <a:gd name="connsiteY946" fmla="*/ 10701 h 51323"/>
                <a:gd name="connsiteX947" fmla="*/ 23601 w 51323"/>
                <a:gd name="connsiteY947" fmla="*/ 10461 h 51323"/>
                <a:gd name="connsiteX948" fmla="*/ 23601 w 51323"/>
                <a:gd name="connsiteY948" fmla="*/ 10598 h 51323"/>
                <a:gd name="connsiteX949" fmla="*/ 23790 w 51323"/>
                <a:gd name="connsiteY949" fmla="*/ 10478 h 51323"/>
                <a:gd name="connsiteX950" fmla="*/ 23790 w 51323"/>
                <a:gd name="connsiteY950" fmla="*/ 10787 h 51323"/>
                <a:gd name="connsiteX951" fmla="*/ 23961 w 51323"/>
                <a:gd name="connsiteY951" fmla="*/ 10512 h 51323"/>
                <a:gd name="connsiteX952" fmla="*/ 24099 w 51323"/>
                <a:gd name="connsiteY952" fmla="*/ 10512 h 51323"/>
                <a:gd name="connsiteX953" fmla="*/ 24322 w 51323"/>
                <a:gd name="connsiteY953" fmla="*/ 10512 h 51323"/>
                <a:gd name="connsiteX954" fmla="*/ 24528 w 51323"/>
                <a:gd name="connsiteY954" fmla="*/ 10512 h 51323"/>
                <a:gd name="connsiteX955" fmla="*/ 24528 w 51323"/>
                <a:gd name="connsiteY955" fmla="*/ 10632 h 51323"/>
                <a:gd name="connsiteX956" fmla="*/ 24528 w 51323"/>
                <a:gd name="connsiteY956" fmla="*/ 10804 h 51323"/>
                <a:gd name="connsiteX957" fmla="*/ 24528 w 51323"/>
                <a:gd name="connsiteY957" fmla="*/ 10804 h 51323"/>
                <a:gd name="connsiteX958" fmla="*/ 24528 w 51323"/>
                <a:gd name="connsiteY958" fmla="*/ 10924 h 51323"/>
                <a:gd name="connsiteX959" fmla="*/ 24528 w 51323"/>
                <a:gd name="connsiteY959" fmla="*/ 11148 h 51323"/>
                <a:gd name="connsiteX960" fmla="*/ 24288 w 51323"/>
                <a:gd name="connsiteY960" fmla="*/ 11148 h 51323"/>
                <a:gd name="connsiteX961" fmla="*/ 23978 w 51323"/>
                <a:gd name="connsiteY961" fmla="*/ 11388 h 51323"/>
                <a:gd name="connsiteX962" fmla="*/ 23978 w 51323"/>
                <a:gd name="connsiteY962" fmla="*/ 11388 h 51323"/>
                <a:gd name="connsiteX963" fmla="*/ 23790 w 51323"/>
                <a:gd name="connsiteY963" fmla="*/ 11388 h 51323"/>
                <a:gd name="connsiteX964" fmla="*/ 23790 w 51323"/>
                <a:gd name="connsiteY964" fmla="*/ 11388 h 51323"/>
                <a:gd name="connsiteX965" fmla="*/ 23669 w 51323"/>
                <a:gd name="connsiteY965" fmla="*/ 11440 h 51323"/>
                <a:gd name="connsiteX966" fmla="*/ 38184 w 51323"/>
                <a:gd name="connsiteY966" fmla="*/ 41533 h 51323"/>
                <a:gd name="connsiteX967" fmla="*/ 38802 w 51323"/>
                <a:gd name="connsiteY967" fmla="*/ 40640 h 51323"/>
                <a:gd name="connsiteX968" fmla="*/ 39540 w 51323"/>
                <a:gd name="connsiteY968" fmla="*/ 39523 h 51323"/>
                <a:gd name="connsiteX969" fmla="*/ 39540 w 51323"/>
                <a:gd name="connsiteY969" fmla="*/ 39523 h 51323"/>
                <a:gd name="connsiteX970" fmla="*/ 39540 w 51323"/>
                <a:gd name="connsiteY970" fmla="*/ 39523 h 51323"/>
                <a:gd name="connsiteX971" fmla="*/ 39781 w 51323"/>
                <a:gd name="connsiteY971" fmla="*/ 39386 h 51323"/>
                <a:gd name="connsiteX972" fmla="*/ 39953 w 51323"/>
                <a:gd name="connsiteY972" fmla="*/ 39386 h 51323"/>
                <a:gd name="connsiteX973" fmla="*/ 39953 w 51323"/>
                <a:gd name="connsiteY973" fmla="*/ 39386 h 51323"/>
                <a:gd name="connsiteX974" fmla="*/ 39953 w 51323"/>
                <a:gd name="connsiteY974" fmla="*/ 39248 h 51323"/>
                <a:gd name="connsiteX975" fmla="*/ 39953 w 51323"/>
                <a:gd name="connsiteY975" fmla="*/ 39248 h 51323"/>
                <a:gd name="connsiteX976" fmla="*/ 39953 w 51323"/>
                <a:gd name="connsiteY976" fmla="*/ 39248 h 51323"/>
                <a:gd name="connsiteX977" fmla="*/ 39953 w 51323"/>
                <a:gd name="connsiteY977" fmla="*/ 39369 h 51323"/>
                <a:gd name="connsiteX978" fmla="*/ 40107 w 51323"/>
                <a:gd name="connsiteY978" fmla="*/ 39266 h 51323"/>
                <a:gd name="connsiteX979" fmla="*/ 40107 w 51323"/>
                <a:gd name="connsiteY979" fmla="*/ 39145 h 51323"/>
                <a:gd name="connsiteX980" fmla="*/ 40107 w 51323"/>
                <a:gd name="connsiteY980" fmla="*/ 39042 h 51323"/>
                <a:gd name="connsiteX981" fmla="*/ 40262 w 51323"/>
                <a:gd name="connsiteY981" fmla="*/ 38939 h 51323"/>
                <a:gd name="connsiteX982" fmla="*/ 40485 w 51323"/>
                <a:gd name="connsiteY982" fmla="*/ 38561 h 51323"/>
                <a:gd name="connsiteX983" fmla="*/ 40674 w 51323"/>
                <a:gd name="connsiteY983" fmla="*/ 38441 h 51323"/>
                <a:gd name="connsiteX984" fmla="*/ 40674 w 51323"/>
                <a:gd name="connsiteY984" fmla="*/ 38664 h 51323"/>
                <a:gd name="connsiteX985" fmla="*/ 38184 w 51323"/>
                <a:gd name="connsiteY985" fmla="*/ 41533 h 51323"/>
                <a:gd name="connsiteX986" fmla="*/ 49159 w 51323"/>
                <a:gd name="connsiteY986" fmla="*/ 26589 h 51323"/>
                <a:gd name="connsiteX987" fmla="*/ 49159 w 51323"/>
                <a:gd name="connsiteY987" fmla="*/ 26589 h 51323"/>
                <a:gd name="connsiteX988" fmla="*/ 48386 w 51323"/>
                <a:gd name="connsiteY988" fmla="*/ 30643 h 51323"/>
                <a:gd name="connsiteX989" fmla="*/ 48215 w 51323"/>
                <a:gd name="connsiteY989" fmla="*/ 30849 h 51323"/>
                <a:gd name="connsiteX990" fmla="*/ 47613 w 51323"/>
                <a:gd name="connsiteY990" fmla="*/ 26452 h 51323"/>
                <a:gd name="connsiteX991" fmla="*/ 47613 w 51323"/>
                <a:gd name="connsiteY991" fmla="*/ 26160 h 51323"/>
                <a:gd name="connsiteX992" fmla="*/ 47528 w 51323"/>
                <a:gd name="connsiteY992" fmla="*/ 26160 h 51323"/>
                <a:gd name="connsiteX993" fmla="*/ 47098 w 51323"/>
                <a:gd name="connsiteY993" fmla="*/ 26606 h 51323"/>
                <a:gd name="connsiteX994" fmla="*/ 46995 w 51323"/>
                <a:gd name="connsiteY994" fmla="*/ 26383 h 51323"/>
                <a:gd name="connsiteX995" fmla="*/ 46995 w 51323"/>
                <a:gd name="connsiteY995" fmla="*/ 26383 h 51323"/>
                <a:gd name="connsiteX996" fmla="*/ 46995 w 51323"/>
                <a:gd name="connsiteY996" fmla="*/ 26383 h 51323"/>
                <a:gd name="connsiteX997" fmla="*/ 47081 w 51323"/>
                <a:gd name="connsiteY997" fmla="*/ 26040 h 51323"/>
                <a:gd name="connsiteX998" fmla="*/ 46806 w 51323"/>
                <a:gd name="connsiteY998" fmla="*/ 25833 h 51323"/>
                <a:gd name="connsiteX999" fmla="*/ 46686 w 51323"/>
                <a:gd name="connsiteY999" fmla="*/ 25971 h 51323"/>
                <a:gd name="connsiteX1000" fmla="*/ 46549 w 51323"/>
                <a:gd name="connsiteY1000" fmla="*/ 25971 h 51323"/>
                <a:gd name="connsiteX1001" fmla="*/ 46428 w 51323"/>
                <a:gd name="connsiteY1001" fmla="*/ 25559 h 51323"/>
                <a:gd name="connsiteX1002" fmla="*/ 46119 w 51323"/>
                <a:gd name="connsiteY1002" fmla="*/ 25438 h 51323"/>
                <a:gd name="connsiteX1003" fmla="*/ 45913 w 51323"/>
                <a:gd name="connsiteY1003" fmla="*/ 25610 h 51323"/>
                <a:gd name="connsiteX1004" fmla="*/ 45741 w 51323"/>
                <a:gd name="connsiteY1004" fmla="*/ 25610 h 51323"/>
                <a:gd name="connsiteX1005" fmla="*/ 45552 w 51323"/>
                <a:gd name="connsiteY1005" fmla="*/ 25765 h 51323"/>
                <a:gd name="connsiteX1006" fmla="*/ 45432 w 51323"/>
                <a:gd name="connsiteY1006" fmla="*/ 25765 h 51323"/>
                <a:gd name="connsiteX1007" fmla="*/ 45209 w 51323"/>
                <a:gd name="connsiteY1007" fmla="*/ 25679 h 51323"/>
                <a:gd name="connsiteX1008" fmla="*/ 44728 w 51323"/>
                <a:gd name="connsiteY1008" fmla="*/ 25679 h 51323"/>
                <a:gd name="connsiteX1009" fmla="*/ 44453 w 51323"/>
                <a:gd name="connsiteY1009" fmla="*/ 25679 h 51323"/>
                <a:gd name="connsiteX1010" fmla="*/ 43663 w 51323"/>
                <a:gd name="connsiteY1010" fmla="*/ 25404 h 51323"/>
                <a:gd name="connsiteX1011" fmla="*/ 43285 w 51323"/>
                <a:gd name="connsiteY1011" fmla="*/ 25146 h 51323"/>
                <a:gd name="connsiteX1012" fmla="*/ 42804 w 51323"/>
                <a:gd name="connsiteY1012" fmla="*/ 24803 h 51323"/>
                <a:gd name="connsiteX1013" fmla="*/ 42804 w 51323"/>
                <a:gd name="connsiteY1013" fmla="*/ 24803 h 51323"/>
                <a:gd name="connsiteX1014" fmla="*/ 42375 w 51323"/>
                <a:gd name="connsiteY1014" fmla="*/ 24425 h 51323"/>
                <a:gd name="connsiteX1015" fmla="*/ 42272 w 51323"/>
                <a:gd name="connsiteY1015" fmla="*/ 24270 h 51323"/>
                <a:gd name="connsiteX1016" fmla="*/ 42272 w 51323"/>
                <a:gd name="connsiteY1016" fmla="*/ 24270 h 51323"/>
                <a:gd name="connsiteX1017" fmla="*/ 42272 w 51323"/>
                <a:gd name="connsiteY1017" fmla="*/ 24270 h 51323"/>
                <a:gd name="connsiteX1018" fmla="*/ 42100 w 51323"/>
                <a:gd name="connsiteY1018" fmla="*/ 24597 h 51323"/>
                <a:gd name="connsiteX1019" fmla="*/ 42220 w 51323"/>
                <a:gd name="connsiteY1019" fmla="*/ 24597 h 51323"/>
                <a:gd name="connsiteX1020" fmla="*/ 42220 w 51323"/>
                <a:gd name="connsiteY1020" fmla="*/ 24597 h 51323"/>
                <a:gd name="connsiteX1021" fmla="*/ 42220 w 51323"/>
                <a:gd name="connsiteY1021" fmla="*/ 24734 h 51323"/>
                <a:gd name="connsiteX1022" fmla="*/ 42220 w 51323"/>
                <a:gd name="connsiteY1022" fmla="*/ 24734 h 51323"/>
                <a:gd name="connsiteX1023" fmla="*/ 42512 w 51323"/>
                <a:gd name="connsiteY1023" fmla="*/ 25112 h 51323"/>
                <a:gd name="connsiteX1024" fmla="*/ 42770 w 51323"/>
                <a:gd name="connsiteY1024" fmla="*/ 25610 h 51323"/>
                <a:gd name="connsiteX1025" fmla="*/ 42770 w 51323"/>
                <a:gd name="connsiteY1025" fmla="*/ 25610 h 51323"/>
                <a:gd name="connsiteX1026" fmla="*/ 43045 w 51323"/>
                <a:gd name="connsiteY1026" fmla="*/ 25782 h 51323"/>
                <a:gd name="connsiteX1027" fmla="*/ 43165 w 51323"/>
                <a:gd name="connsiteY1027" fmla="*/ 25627 h 51323"/>
                <a:gd name="connsiteX1028" fmla="*/ 43165 w 51323"/>
                <a:gd name="connsiteY1028" fmla="*/ 26108 h 51323"/>
                <a:gd name="connsiteX1029" fmla="*/ 43165 w 51323"/>
                <a:gd name="connsiteY1029" fmla="*/ 26211 h 51323"/>
                <a:gd name="connsiteX1030" fmla="*/ 43165 w 51323"/>
                <a:gd name="connsiteY1030" fmla="*/ 26366 h 51323"/>
                <a:gd name="connsiteX1031" fmla="*/ 43766 w 51323"/>
                <a:gd name="connsiteY1031" fmla="*/ 26091 h 51323"/>
                <a:gd name="connsiteX1032" fmla="*/ 43766 w 51323"/>
                <a:gd name="connsiteY1032" fmla="*/ 26091 h 51323"/>
                <a:gd name="connsiteX1033" fmla="*/ 44058 w 51323"/>
                <a:gd name="connsiteY1033" fmla="*/ 25318 h 51323"/>
                <a:gd name="connsiteX1034" fmla="*/ 44058 w 51323"/>
                <a:gd name="connsiteY1034" fmla="*/ 25318 h 51323"/>
                <a:gd name="connsiteX1035" fmla="*/ 44058 w 51323"/>
                <a:gd name="connsiteY1035" fmla="*/ 25215 h 51323"/>
                <a:gd name="connsiteX1036" fmla="*/ 44058 w 51323"/>
                <a:gd name="connsiteY1036" fmla="*/ 25507 h 51323"/>
                <a:gd name="connsiteX1037" fmla="*/ 44642 w 51323"/>
                <a:gd name="connsiteY1037" fmla="*/ 26091 h 51323"/>
                <a:gd name="connsiteX1038" fmla="*/ 44642 w 51323"/>
                <a:gd name="connsiteY1038" fmla="*/ 27311 h 51323"/>
                <a:gd name="connsiteX1039" fmla="*/ 44642 w 51323"/>
                <a:gd name="connsiteY1039" fmla="*/ 27877 h 51323"/>
                <a:gd name="connsiteX1040" fmla="*/ 44109 w 51323"/>
                <a:gd name="connsiteY1040" fmla="*/ 28376 h 51323"/>
                <a:gd name="connsiteX1041" fmla="*/ 44109 w 51323"/>
                <a:gd name="connsiteY1041" fmla="*/ 28719 h 51323"/>
                <a:gd name="connsiteX1042" fmla="*/ 43457 w 51323"/>
                <a:gd name="connsiteY1042" fmla="*/ 29114 h 51323"/>
                <a:gd name="connsiteX1043" fmla="*/ 42684 w 51323"/>
                <a:gd name="connsiteY1043" fmla="*/ 29767 h 51323"/>
                <a:gd name="connsiteX1044" fmla="*/ 42357 w 51323"/>
                <a:gd name="connsiteY1044" fmla="*/ 29990 h 51323"/>
                <a:gd name="connsiteX1045" fmla="*/ 41791 w 51323"/>
                <a:gd name="connsiteY1045" fmla="*/ 30248 h 51323"/>
                <a:gd name="connsiteX1046" fmla="*/ 41172 w 51323"/>
                <a:gd name="connsiteY1046" fmla="*/ 30626 h 51323"/>
                <a:gd name="connsiteX1047" fmla="*/ 40897 w 51323"/>
                <a:gd name="connsiteY1047" fmla="*/ 29629 h 51323"/>
                <a:gd name="connsiteX1048" fmla="*/ 39850 w 51323"/>
                <a:gd name="connsiteY1048" fmla="*/ 27706 h 51323"/>
                <a:gd name="connsiteX1049" fmla="*/ 39283 w 51323"/>
                <a:gd name="connsiteY1049" fmla="*/ 26606 h 51323"/>
                <a:gd name="connsiteX1050" fmla="*/ 38338 w 51323"/>
                <a:gd name="connsiteY1050" fmla="*/ 24751 h 51323"/>
                <a:gd name="connsiteX1051" fmla="*/ 38201 w 51323"/>
                <a:gd name="connsiteY1051" fmla="*/ 25438 h 51323"/>
                <a:gd name="connsiteX1052" fmla="*/ 37548 w 51323"/>
                <a:gd name="connsiteY1052" fmla="*/ 24717 h 51323"/>
                <a:gd name="connsiteX1053" fmla="*/ 38682 w 51323"/>
                <a:gd name="connsiteY1053" fmla="*/ 26692 h 51323"/>
                <a:gd name="connsiteX1054" fmla="*/ 38682 w 51323"/>
                <a:gd name="connsiteY1054" fmla="*/ 26692 h 51323"/>
                <a:gd name="connsiteX1055" fmla="*/ 38819 w 51323"/>
                <a:gd name="connsiteY1055" fmla="*/ 26830 h 51323"/>
                <a:gd name="connsiteX1056" fmla="*/ 38699 w 51323"/>
                <a:gd name="connsiteY1056" fmla="*/ 26830 h 51323"/>
                <a:gd name="connsiteX1057" fmla="*/ 39317 w 51323"/>
                <a:gd name="connsiteY1057" fmla="*/ 27826 h 51323"/>
                <a:gd name="connsiteX1058" fmla="*/ 39317 w 51323"/>
                <a:gd name="connsiteY1058" fmla="*/ 28376 h 51323"/>
                <a:gd name="connsiteX1059" fmla="*/ 39712 w 51323"/>
                <a:gd name="connsiteY1059" fmla="*/ 28891 h 51323"/>
                <a:gd name="connsiteX1060" fmla="*/ 40021 w 51323"/>
                <a:gd name="connsiteY1060" fmla="*/ 29715 h 51323"/>
                <a:gd name="connsiteX1061" fmla="*/ 40021 w 51323"/>
                <a:gd name="connsiteY1061" fmla="*/ 29801 h 51323"/>
                <a:gd name="connsiteX1062" fmla="*/ 40193 w 51323"/>
                <a:gd name="connsiteY1062" fmla="*/ 29939 h 51323"/>
                <a:gd name="connsiteX1063" fmla="*/ 40932 w 51323"/>
                <a:gd name="connsiteY1063" fmla="*/ 30626 h 51323"/>
                <a:gd name="connsiteX1064" fmla="*/ 41035 w 51323"/>
                <a:gd name="connsiteY1064" fmla="*/ 30746 h 51323"/>
                <a:gd name="connsiteX1065" fmla="*/ 40794 w 51323"/>
                <a:gd name="connsiteY1065" fmla="*/ 31038 h 51323"/>
                <a:gd name="connsiteX1066" fmla="*/ 41327 w 51323"/>
                <a:gd name="connsiteY1066" fmla="*/ 31450 h 51323"/>
                <a:gd name="connsiteX1067" fmla="*/ 42770 w 51323"/>
                <a:gd name="connsiteY1067" fmla="*/ 30901 h 51323"/>
                <a:gd name="connsiteX1068" fmla="*/ 42993 w 51323"/>
                <a:gd name="connsiteY1068" fmla="*/ 30660 h 51323"/>
                <a:gd name="connsiteX1069" fmla="*/ 42993 w 51323"/>
                <a:gd name="connsiteY1069" fmla="*/ 31210 h 51323"/>
                <a:gd name="connsiteX1070" fmla="*/ 42993 w 51323"/>
                <a:gd name="connsiteY1070" fmla="*/ 31210 h 51323"/>
                <a:gd name="connsiteX1071" fmla="*/ 38922 w 51323"/>
                <a:gd name="connsiteY1071" fmla="*/ 37033 h 51323"/>
                <a:gd name="connsiteX1072" fmla="*/ 38802 w 51323"/>
                <a:gd name="connsiteY1072" fmla="*/ 37307 h 51323"/>
                <a:gd name="connsiteX1073" fmla="*/ 38802 w 51323"/>
                <a:gd name="connsiteY1073" fmla="*/ 38012 h 51323"/>
                <a:gd name="connsiteX1074" fmla="*/ 38355 w 51323"/>
                <a:gd name="connsiteY1074" fmla="*/ 39248 h 51323"/>
                <a:gd name="connsiteX1075" fmla="*/ 38355 w 51323"/>
                <a:gd name="connsiteY1075" fmla="*/ 39351 h 51323"/>
                <a:gd name="connsiteX1076" fmla="*/ 37119 w 51323"/>
                <a:gd name="connsiteY1076" fmla="*/ 40193 h 51323"/>
                <a:gd name="connsiteX1077" fmla="*/ 37119 w 51323"/>
                <a:gd name="connsiteY1077" fmla="*/ 40193 h 51323"/>
                <a:gd name="connsiteX1078" fmla="*/ 36311 w 51323"/>
                <a:gd name="connsiteY1078" fmla="*/ 40691 h 51323"/>
                <a:gd name="connsiteX1079" fmla="*/ 36311 w 51323"/>
                <a:gd name="connsiteY1079" fmla="*/ 40880 h 51323"/>
                <a:gd name="connsiteX1080" fmla="*/ 36311 w 51323"/>
                <a:gd name="connsiteY1080" fmla="*/ 41035 h 51323"/>
                <a:gd name="connsiteX1081" fmla="*/ 36311 w 51323"/>
                <a:gd name="connsiteY1081" fmla="*/ 41395 h 51323"/>
                <a:gd name="connsiteX1082" fmla="*/ 36311 w 51323"/>
                <a:gd name="connsiteY1082" fmla="*/ 41292 h 51323"/>
                <a:gd name="connsiteX1083" fmla="*/ 36311 w 51323"/>
                <a:gd name="connsiteY1083" fmla="*/ 41292 h 51323"/>
                <a:gd name="connsiteX1084" fmla="*/ 36311 w 51323"/>
                <a:gd name="connsiteY1084" fmla="*/ 41292 h 51323"/>
                <a:gd name="connsiteX1085" fmla="*/ 36054 w 51323"/>
                <a:gd name="connsiteY1085" fmla="*/ 41705 h 51323"/>
                <a:gd name="connsiteX1086" fmla="*/ 36054 w 51323"/>
                <a:gd name="connsiteY1086" fmla="*/ 41705 h 51323"/>
                <a:gd name="connsiteX1087" fmla="*/ 35006 w 51323"/>
                <a:gd name="connsiteY1087" fmla="*/ 42392 h 51323"/>
                <a:gd name="connsiteX1088" fmla="*/ 35126 w 51323"/>
                <a:gd name="connsiteY1088" fmla="*/ 42392 h 51323"/>
                <a:gd name="connsiteX1089" fmla="*/ 34954 w 51323"/>
                <a:gd name="connsiteY1089" fmla="*/ 42598 h 51323"/>
                <a:gd name="connsiteX1090" fmla="*/ 34954 w 51323"/>
                <a:gd name="connsiteY1090" fmla="*/ 42598 h 51323"/>
                <a:gd name="connsiteX1091" fmla="*/ 32051 w 51323"/>
                <a:gd name="connsiteY1091" fmla="*/ 44315 h 51323"/>
                <a:gd name="connsiteX1092" fmla="*/ 30660 w 51323"/>
                <a:gd name="connsiteY1092" fmla="*/ 44418 h 51323"/>
                <a:gd name="connsiteX1093" fmla="*/ 30660 w 51323"/>
                <a:gd name="connsiteY1093" fmla="*/ 44418 h 51323"/>
                <a:gd name="connsiteX1094" fmla="*/ 30660 w 51323"/>
                <a:gd name="connsiteY1094" fmla="*/ 44418 h 51323"/>
                <a:gd name="connsiteX1095" fmla="*/ 30660 w 51323"/>
                <a:gd name="connsiteY1095" fmla="*/ 44092 h 51323"/>
                <a:gd name="connsiteX1096" fmla="*/ 30660 w 51323"/>
                <a:gd name="connsiteY1096" fmla="*/ 43199 h 51323"/>
                <a:gd name="connsiteX1097" fmla="*/ 29836 w 51323"/>
                <a:gd name="connsiteY1097" fmla="*/ 40296 h 51323"/>
                <a:gd name="connsiteX1098" fmla="*/ 30591 w 51323"/>
                <a:gd name="connsiteY1098" fmla="*/ 38046 h 51323"/>
                <a:gd name="connsiteX1099" fmla="*/ 30471 w 51323"/>
                <a:gd name="connsiteY1099" fmla="*/ 37204 h 51323"/>
                <a:gd name="connsiteX1100" fmla="*/ 30574 w 51323"/>
                <a:gd name="connsiteY1100" fmla="*/ 37204 h 51323"/>
                <a:gd name="connsiteX1101" fmla="*/ 30454 w 51323"/>
                <a:gd name="connsiteY1101" fmla="*/ 37050 h 51323"/>
                <a:gd name="connsiteX1102" fmla="*/ 29423 w 51323"/>
                <a:gd name="connsiteY1102" fmla="*/ 35607 h 51323"/>
                <a:gd name="connsiteX1103" fmla="*/ 29630 w 51323"/>
                <a:gd name="connsiteY1103" fmla="*/ 35298 h 51323"/>
                <a:gd name="connsiteX1104" fmla="*/ 29819 w 51323"/>
                <a:gd name="connsiteY1104" fmla="*/ 35298 h 51323"/>
                <a:gd name="connsiteX1105" fmla="*/ 29647 w 51323"/>
                <a:gd name="connsiteY1105" fmla="*/ 35177 h 51323"/>
                <a:gd name="connsiteX1106" fmla="*/ 29647 w 51323"/>
                <a:gd name="connsiteY1106" fmla="*/ 35040 h 51323"/>
                <a:gd name="connsiteX1107" fmla="*/ 29836 w 51323"/>
                <a:gd name="connsiteY1107" fmla="*/ 34095 h 51323"/>
                <a:gd name="connsiteX1108" fmla="*/ 29612 w 51323"/>
                <a:gd name="connsiteY1108" fmla="*/ 33906 h 51323"/>
                <a:gd name="connsiteX1109" fmla="*/ 29423 w 51323"/>
                <a:gd name="connsiteY1109" fmla="*/ 33906 h 51323"/>
                <a:gd name="connsiteX1110" fmla="*/ 28496 w 51323"/>
                <a:gd name="connsiteY1110" fmla="*/ 34044 h 51323"/>
                <a:gd name="connsiteX1111" fmla="*/ 25937 w 51323"/>
                <a:gd name="connsiteY1111" fmla="*/ 33821 h 51323"/>
                <a:gd name="connsiteX1112" fmla="*/ 22501 w 51323"/>
                <a:gd name="connsiteY1112" fmla="*/ 32687 h 51323"/>
                <a:gd name="connsiteX1113" fmla="*/ 22226 w 51323"/>
                <a:gd name="connsiteY1113" fmla="*/ 32361 h 51323"/>
                <a:gd name="connsiteX1114" fmla="*/ 22226 w 51323"/>
                <a:gd name="connsiteY1114" fmla="*/ 32137 h 51323"/>
                <a:gd name="connsiteX1115" fmla="*/ 21986 w 51323"/>
                <a:gd name="connsiteY1115" fmla="*/ 31828 h 51323"/>
                <a:gd name="connsiteX1116" fmla="*/ 21591 w 51323"/>
                <a:gd name="connsiteY1116" fmla="*/ 31536 h 51323"/>
                <a:gd name="connsiteX1117" fmla="*/ 21436 w 51323"/>
                <a:gd name="connsiteY1117" fmla="*/ 31450 h 51323"/>
                <a:gd name="connsiteX1118" fmla="*/ 21436 w 51323"/>
                <a:gd name="connsiteY1118" fmla="*/ 31450 h 51323"/>
                <a:gd name="connsiteX1119" fmla="*/ 21436 w 51323"/>
                <a:gd name="connsiteY1119" fmla="*/ 31450 h 51323"/>
                <a:gd name="connsiteX1120" fmla="*/ 21436 w 51323"/>
                <a:gd name="connsiteY1120" fmla="*/ 31347 h 51323"/>
                <a:gd name="connsiteX1121" fmla="*/ 21642 w 51323"/>
                <a:gd name="connsiteY1121" fmla="*/ 31347 h 51323"/>
                <a:gd name="connsiteX1122" fmla="*/ 21247 w 51323"/>
                <a:gd name="connsiteY1122" fmla="*/ 31158 h 51323"/>
                <a:gd name="connsiteX1123" fmla="*/ 21041 w 51323"/>
                <a:gd name="connsiteY1123" fmla="*/ 30986 h 51323"/>
                <a:gd name="connsiteX1124" fmla="*/ 21213 w 51323"/>
                <a:gd name="connsiteY1124" fmla="*/ 30986 h 51323"/>
                <a:gd name="connsiteX1125" fmla="*/ 21024 w 51323"/>
                <a:gd name="connsiteY1125" fmla="*/ 30986 h 51323"/>
                <a:gd name="connsiteX1126" fmla="*/ 21024 w 51323"/>
                <a:gd name="connsiteY1126" fmla="*/ 30780 h 51323"/>
                <a:gd name="connsiteX1127" fmla="*/ 21299 w 51323"/>
                <a:gd name="connsiteY1127" fmla="*/ 30780 h 51323"/>
                <a:gd name="connsiteX1128" fmla="*/ 21144 w 51323"/>
                <a:gd name="connsiteY1128" fmla="*/ 30626 h 51323"/>
                <a:gd name="connsiteX1129" fmla="*/ 21144 w 51323"/>
                <a:gd name="connsiteY1129" fmla="*/ 30626 h 51323"/>
                <a:gd name="connsiteX1130" fmla="*/ 20921 w 51323"/>
                <a:gd name="connsiteY1130" fmla="*/ 30299 h 51323"/>
                <a:gd name="connsiteX1131" fmla="*/ 21333 w 51323"/>
                <a:gd name="connsiteY1131" fmla="*/ 28582 h 51323"/>
                <a:gd name="connsiteX1132" fmla="*/ 21436 w 51323"/>
                <a:gd name="connsiteY1132" fmla="*/ 28358 h 51323"/>
                <a:gd name="connsiteX1133" fmla="*/ 21247 w 51323"/>
                <a:gd name="connsiteY1133" fmla="*/ 28135 h 51323"/>
                <a:gd name="connsiteX1134" fmla="*/ 21247 w 51323"/>
                <a:gd name="connsiteY1134" fmla="*/ 28221 h 51323"/>
                <a:gd name="connsiteX1135" fmla="*/ 21591 w 51323"/>
                <a:gd name="connsiteY1135" fmla="*/ 27465 h 51323"/>
                <a:gd name="connsiteX1136" fmla="*/ 23927 w 51323"/>
                <a:gd name="connsiteY1136" fmla="*/ 25043 h 51323"/>
                <a:gd name="connsiteX1137" fmla="*/ 23927 w 51323"/>
                <a:gd name="connsiteY1137" fmla="*/ 24562 h 51323"/>
                <a:gd name="connsiteX1138" fmla="*/ 24133 w 51323"/>
                <a:gd name="connsiteY1138" fmla="*/ 24081 h 51323"/>
                <a:gd name="connsiteX1139" fmla="*/ 25473 w 51323"/>
                <a:gd name="connsiteY1139" fmla="*/ 22896 h 51323"/>
                <a:gd name="connsiteX1140" fmla="*/ 26194 w 51323"/>
                <a:gd name="connsiteY1140" fmla="*/ 23102 h 51323"/>
                <a:gd name="connsiteX1141" fmla="*/ 27586 w 51323"/>
                <a:gd name="connsiteY1141" fmla="*/ 22725 h 51323"/>
                <a:gd name="connsiteX1142" fmla="*/ 29063 w 51323"/>
                <a:gd name="connsiteY1142" fmla="*/ 22587 h 51323"/>
                <a:gd name="connsiteX1143" fmla="*/ 29372 w 51323"/>
                <a:gd name="connsiteY1143" fmla="*/ 22587 h 51323"/>
                <a:gd name="connsiteX1144" fmla="*/ 30162 w 51323"/>
                <a:gd name="connsiteY1144" fmla="*/ 22587 h 51323"/>
                <a:gd name="connsiteX1145" fmla="*/ 30385 w 51323"/>
                <a:gd name="connsiteY1145" fmla="*/ 22776 h 51323"/>
                <a:gd name="connsiteX1146" fmla="*/ 30385 w 51323"/>
                <a:gd name="connsiteY1146" fmla="*/ 23017 h 51323"/>
                <a:gd name="connsiteX1147" fmla="*/ 30385 w 51323"/>
                <a:gd name="connsiteY1147" fmla="*/ 23910 h 51323"/>
                <a:gd name="connsiteX1148" fmla="*/ 30506 w 51323"/>
                <a:gd name="connsiteY1148" fmla="*/ 23910 h 51323"/>
                <a:gd name="connsiteX1149" fmla="*/ 30506 w 51323"/>
                <a:gd name="connsiteY1149" fmla="*/ 23910 h 51323"/>
                <a:gd name="connsiteX1150" fmla="*/ 31622 w 51323"/>
                <a:gd name="connsiteY1150" fmla="*/ 24236 h 51323"/>
                <a:gd name="connsiteX1151" fmla="*/ 34473 w 51323"/>
                <a:gd name="connsiteY1151" fmla="*/ 24236 h 51323"/>
                <a:gd name="connsiteX1152" fmla="*/ 36191 w 51323"/>
                <a:gd name="connsiteY1152" fmla="*/ 24700 h 51323"/>
                <a:gd name="connsiteX1153" fmla="*/ 37084 w 51323"/>
                <a:gd name="connsiteY1153" fmla="*/ 24494 h 51323"/>
                <a:gd name="connsiteX1154" fmla="*/ 37187 w 51323"/>
                <a:gd name="connsiteY1154" fmla="*/ 24494 h 51323"/>
                <a:gd name="connsiteX1155" fmla="*/ 37187 w 51323"/>
                <a:gd name="connsiteY1155" fmla="*/ 24494 h 51323"/>
                <a:gd name="connsiteX1156" fmla="*/ 37462 w 51323"/>
                <a:gd name="connsiteY1156" fmla="*/ 24494 h 51323"/>
                <a:gd name="connsiteX1157" fmla="*/ 37565 w 51323"/>
                <a:gd name="connsiteY1157" fmla="*/ 24665 h 51323"/>
                <a:gd name="connsiteX1158" fmla="*/ 37565 w 51323"/>
                <a:gd name="connsiteY1158" fmla="*/ 24494 h 51323"/>
                <a:gd name="connsiteX1159" fmla="*/ 38407 w 51323"/>
                <a:gd name="connsiteY1159" fmla="*/ 22381 h 51323"/>
                <a:gd name="connsiteX1160" fmla="*/ 37840 w 51323"/>
                <a:gd name="connsiteY1160" fmla="*/ 22656 h 51323"/>
                <a:gd name="connsiteX1161" fmla="*/ 36775 w 51323"/>
                <a:gd name="connsiteY1161" fmla="*/ 22656 h 51323"/>
                <a:gd name="connsiteX1162" fmla="*/ 36277 w 51323"/>
                <a:gd name="connsiteY1162" fmla="*/ 22536 h 51323"/>
                <a:gd name="connsiteX1163" fmla="*/ 36140 w 51323"/>
                <a:gd name="connsiteY1163" fmla="*/ 22536 h 51323"/>
                <a:gd name="connsiteX1164" fmla="*/ 35933 w 51323"/>
                <a:gd name="connsiteY1164" fmla="*/ 22536 h 51323"/>
                <a:gd name="connsiteX1165" fmla="*/ 35727 w 51323"/>
                <a:gd name="connsiteY1165" fmla="*/ 22536 h 51323"/>
                <a:gd name="connsiteX1166" fmla="*/ 35951 w 51323"/>
                <a:gd name="connsiteY1166" fmla="*/ 22398 h 51323"/>
                <a:gd name="connsiteX1167" fmla="*/ 35762 w 51323"/>
                <a:gd name="connsiteY1167" fmla="*/ 22398 h 51323"/>
                <a:gd name="connsiteX1168" fmla="*/ 35401 w 51323"/>
                <a:gd name="connsiteY1168" fmla="*/ 22020 h 51323"/>
                <a:gd name="connsiteX1169" fmla="*/ 35401 w 51323"/>
                <a:gd name="connsiteY1169" fmla="*/ 21831 h 51323"/>
                <a:gd name="connsiteX1170" fmla="*/ 35573 w 51323"/>
                <a:gd name="connsiteY1170" fmla="*/ 21831 h 51323"/>
                <a:gd name="connsiteX1171" fmla="*/ 35573 w 51323"/>
                <a:gd name="connsiteY1171" fmla="*/ 21831 h 51323"/>
                <a:gd name="connsiteX1172" fmla="*/ 35676 w 51323"/>
                <a:gd name="connsiteY1172" fmla="*/ 21694 h 51323"/>
                <a:gd name="connsiteX1173" fmla="*/ 35676 w 51323"/>
                <a:gd name="connsiteY1173" fmla="*/ 21488 h 51323"/>
                <a:gd name="connsiteX1174" fmla="*/ 35779 w 51323"/>
                <a:gd name="connsiteY1174" fmla="*/ 21179 h 51323"/>
                <a:gd name="connsiteX1175" fmla="*/ 36225 w 51323"/>
                <a:gd name="connsiteY1175" fmla="*/ 21179 h 51323"/>
                <a:gd name="connsiteX1176" fmla="*/ 36397 w 51323"/>
                <a:gd name="connsiteY1176" fmla="*/ 20990 h 51323"/>
                <a:gd name="connsiteX1177" fmla="*/ 36827 w 51323"/>
                <a:gd name="connsiteY1177" fmla="*/ 20784 h 51323"/>
                <a:gd name="connsiteX1178" fmla="*/ 37788 w 51323"/>
                <a:gd name="connsiteY1178" fmla="*/ 20371 h 51323"/>
                <a:gd name="connsiteX1179" fmla="*/ 38063 w 51323"/>
                <a:gd name="connsiteY1179" fmla="*/ 20371 h 51323"/>
                <a:gd name="connsiteX1180" fmla="*/ 38287 w 51323"/>
                <a:gd name="connsiteY1180" fmla="*/ 20526 h 51323"/>
                <a:gd name="connsiteX1181" fmla="*/ 37857 w 51323"/>
                <a:gd name="connsiteY1181" fmla="*/ 19049 h 51323"/>
                <a:gd name="connsiteX1182" fmla="*/ 37857 w 51323"/>
                <a:gd name="connsiteY1182" fmla="*/ 18911 h 51323"/>
                <a:gd name="connsiteX1183" fmla="*/ 37977 w 51323"/>
                <a:gd name="connsiteY1183" fmla="*/ 18791 h 51323"/>
                <a:gd name="connsiteX1184" fmla="*/ 37977 w 51323"/>
                <a:gd name="connsiteY1184" fmla="*/ 18551 h 51323"/>
                <a:gd name="connsiteX1185" fmla="*/ 37857 w 51323"/>
                <a:gd name="connsiteY1185" fmla="*/ 18448 h 51323"/>
                <a:gd name="connsiteX1186" fmla="*/ 38029 w 51323"/>
                <a:gd name="connsiteY1186" fmla="*/ 18448 h 51323"/>
                <a:gd name="connsiteX1187" fmla="*/ 38132 w 51323"/>
                <a:gd name="connsiteY1187" fmla="*/ 18224 h 51323"/>
                <a:gd name="connsiteX1188" fmla="*/ 37548 w 51323"/>
                <a:gd name="connsiteY1188" fmla="*/ 18499 h 51323"/>
                <a:gd name="connsiteX1189" fmla="*/ 37359 w 51323"/>
                <a:gd name="connsiteY1189" fmla="*/ 18499 h 51323"/>
                <a:gd name="connsiteX1190" fmla="*/ 37204 w 51323"/>
                <a:gd name="connsiteY1190" fmla="*/ 18499 h 51323"/>
                <a:gd name="connsiteX1191" fmla="*/ 37204 w 51323"/>
                <a:gd name="connsiteY1191" fmla="*/ 18705 h 51323"/>
                <a:gd name="connsiteX1192" fmla="*/ 37204 w 51323"/>
                <a:gd name="connsiteY1192" fmla="*/ 18568 h 51323"/>
                <a:gd name="connsiteX1193" fmla="*/ 36878 w 51323"/>
                <a:gd name="connsiteY1193" fmla="*/ 18791 h 51323"/>
                <a:gd name="connsiteX1194" fmla="*/ 37136 w 51323"/>
                <a:gd name="connsiteY1194" fmla="*/ 18946 h 51323"/>
                <a:gd name="connsiteX1195" fmla="*/ 37136 w 51323"/>
                <a:gd name="connsiteY1195" fmla="*/ 18946 h 51323"/>
                <a:gd name="connsiteX1196" fmla="*/ 37325 w 51323"/>
                <a:gd name="connsiteY1196" fmla="*/ 19049 h 51323"/>
                <a:gd name="connsiteX1197" fmla="*/ 37084 w 51323"/>
                <a:gd name="connsiteY1197" fmla="*/ 18705 h 51323"/>
                <a:gd name="connsiteX1198" fmla="*/ 37393 w 51323"/>
                <a:gd name="connsiteY1198" fmla="*/ 19014 h 51323"/>
                <a:gd name="connsiteX1199" fmla="*/ 37514 w 51323"/>
                <a:gd name="connsiteY1199" fmla="*/ 19014 h 51323"/>
                <a:gd name="connsiteX1200" fmla="*/ 37685 w 51323"/>
                <a:gd name="connsiteY1200" fmla="*/ 18929 h 51323"/>
                <a:gd name="connsiteX1201" fmla="*/ 37462 w 51323"/>
                <a:gd name="connsiteY1201" fmla="*/ 19100 h 51323"/>
                <a:gd name="connsiteX1202" fmla="*/ 36912 w 51323"/>
                <a:gd name="connsiteY1202" fmla="*/ 19100 h 51323"/>
                <a:gd name="connsiteX1203" fmla="*/ 36758 w 51323"/>
                <a:gd name="connsiteY1203" fmla="*/ 18860 h 51323"/>
                <a:gd name="connsiteX1204" fmla="*/ 36500 w 51323"/>
                <a:gd name="connsiteY1204" fmla="*/ 18740 h 51323"/>
                <a:gd name="connsiteX1205" fmla="*/ 36380 w 51323"/>
                <a:gd name="connsiteY1205" fmla="*/ 18619 h 51323"/>
                <a:gd name="connsiteX1206" fmla="*/ 36157 w 51323"/>
                <a:gd name="connsiteY1206" fmla="*/ 18619 h 51323"/>
                <a:gd name="connsiteX1207" fmla="*/ 36449 w 51323"/>
                <a:gd name="connsiteY1207" fmla="*/ 18619 h 51323"/>
                <a:gd name="connsiteX1208" fmla="*/ 36260 w 51323"/>
                <a:gd name="connsiteY1208" fmla="*/ 18619 h 51323"/>
                <a:gd name="connsiteX1209" fmla="*/ 36088 w 51323"/>
                <a:gd name="connsiteY1209" fmla="*/ 18740 h 51323"/>
                <a:gd name="connsiteX1210" fmla="*/ 35916 w 51323"/>
                <a:gd name="connsiteY1210" fmla="*/ 18946 h 51323"/>
                <a:gd name="connsiteX1211" fmla="*/ 35796 w 51323"/>
                <a:gd name="connsiteY1211" fmla="*/ 19083 h 51323"/>
                <a:gd name="connsiteX1212" fmla="*/ 35607 w 51323"/>
                <a:gd name="connsiteY1212" fmla="*/ 19598 h 51323"/>
                <a:gd name="connsiteX1213" fmla="*/ 35607 w 51323"/>
                <a:gd name="connsiteY1213" fmla="*/ 19993 h 51323"/>
                <a:gd name="connsiteX1214" fmla="*/ 35470 w 51323"/>
                <a:gd name="connsiteY1214" fmla="*/ 20251 h 51323"/>
                <a:gd name="connsiteX1215" fmla="*/ 35607 w 51323"/>
                <a:gd name="connsiteY1215" fmla="*/ 20698 h 51323"/>
                <a:gd name="connsiteX1216" fmla="*/ 35899 w 51323"/>
                <a:gd name="connsiteY1216" fmla="*/ 20990 h 51323"/>
                <a:gd name="connsiteX1217" fmla="*/ 35212 w 51323"/>
                <a:gd name="connsiteY1217" fmla="*/ 21333 h 51323"/>
                <a:gd name="connsiteX1218" fmla="*/ 35315 w 51323"/>
                <a:gd name="connsiteY1218" fmla="*/ 21144 h 51323"/>
                <a:gd name="connsiteX1219" fmla="*/ 34731 w 51323"/>
                <a:gd name="connsiteY1219" fmla="*/ 21144 h 51323"/>
                <a:gd name="connsiteX1220" fmla="*/ 34491 w 51323"/>
                <a:gd name="connsiteY1220" fmla="*/ 21230 h 51323"/>
                <a:gd name="connsiteX1221" fmla="*/ 34611 w 51323"/>
                <a:gd name="connsiteY1221" fmla="*/ 21385 h 51323"/>
                <a:gd name="connsiteX1222" fmla="*/ 34439 w 51323"/>
                <a:gd name="connsiteY1222" fmla="*/ 21385 h 51323"/>
                <a:gd name="connsiteX1223" fmla="*/ 34439 w 51323"/>
                <a:gd name="connsiteY1223" fmla="*/ 21471 h 51323"/>
                <a:gd name="connsiteX1224" fmla="*/ 34439 w 51323"/>
                <a:gd name="connsiteY1224" fmla="*/ 21471 h 51323"/>
                <a:gd name="connsiteX1225" fmla="*/ 34164 w 51323"/>
                <a:gd name="connsiteY1225" fmla="*/ 21282 h 51323"/>
                <a:gd name="connsiteX1226" fmla="*/ 34164 w 51323"/>
                <a:gd name="connsiteY1226" fmla="*/ 21522 h 51323"/>
                <a:gd name="connsiteX1227" fmla="*/ 34164 w 51323"/>
                <a:gd name="connsiteY1227" fmla="*/ 21728 h 51323"/>
                <a:gd name="connsiteX1228" fmla="*/ 34164 w 51323"/>
                <a:gd name="connsiteY1228" fmla="*/ 21728 h 51323"/>
                <a:gd name="connsiteX1229" fmla="*/ 34164 w 51323"/>
                <a:gd name="connsiteY1229" fmla="*/ 21831 h 51323"/>
                <a:gd name="connsiteX1230" fmla="*/ 34662 w 51323"/>
                <a:gd name="connsiteY1230" fmla="*/ 22295 h 51323"/>
                <a:gd name="connsiteX1231" fmla="*/ 34336 w 51323"/>
                <a:gd name="connsiteY1231" fmla="*/ 22295 h 51323"/>
                <a:gd name="connsiteX1232" fmla="*/ 34456 w 51323"/>
                <a:gd name="connsiteY1232" fmla="*/ 22467 h 51323"/>
                <a:gd name="connsiteX1233" fmla="*/ 34456 w 51323"/>
                <a:gd name="connsiteY1233" fmla="*/ 22467 h 51323"/>
                <a:gd name="connsiteX1234" fmla="*/ 34456 w 51323"/>
                <a:gd name="connsiteY1234" fmla="*/ 22776 h 51323"/>
                <a:gd name="connsiteX1235" fmla="*/ 34250 w 51323"/>
                <a:gd name="connsiteY1235" fmla="*/ 22776 h 51323"/>
                <a:gd name="connsiteX1236" fmla="*/ 34078 w 51323"/>
                <a:gd name="connsiteY1236" fmla="*/ 22518 h 51323"/>
                <a:gd name="connsiteX1237" fmla="*/ 34078 w 51323"/>
                <a:gd name="connsiteY1237" fmla="*/ 22656 h 51323"/>
                <a:gd name="connsiteX1238" fmla="*/ 33975 w 51323"/>
                <a:gd name="connsiteY1238" fmla="*/ 22398 h 51323"/>
                <a:gd name="connsiteX1239" fmla="*/ 33855 w 51323"/>
                <a:gd name="connsiteY1239" fmla="*/ 22089 h 51323"/>
                <a:gd name="connsiteX1240" fmla="*/ 34353 w 51323"/>
                <a:gd name="connsiteY1240" fmla="*/ 22089 h 51323"/>
                <a:gd name="connsiteX1241" fmla="*/ 33958 w 51323"/>
                <a:gd name="connsiteY1241" fmla="*/ 22089 h 51323"/>
                <a:gd name="connsiteX1242" fmla="*/ 33786 w 51323"/>
                <a:gd name="connsiteY1242" fmla="*/ 22089 h 51323"/>
                <a:gd name="connsiteX1243" fmla="*/ 33065 w 51323"/>
                <a:gd name="connsiteY1243" fmla="*/ 21316 h 51323"/>
                <a:gd name="connsiteX1244" fmla="*/ 33065 w 51323"/>
                <a:gd name="connsiteY1244" fmla="*/ 20732 h 51323"/>
                <a:gd name="connsiteX1245" fmla="*/ 32584 w 51323"/>
                <a:gd name="connsiteY1245" fmla="*/ 20320 h 51323"/>
                <a:gd name="connsiteX1246" fmla="*/ 32275 w 51323"/>
                <a:gd name="connsiteY1246" fmla="*/ 20320 h 51323"/>
                <a:gd name="connsiteX1247" fmla="*/ 32395 w 51323"/>
                <a:gd name="connsiteY1247" fmla="*/ 20320 h 51323"/>
                <a:gd name="connsiteX1248" fmla="*/ 31931 w 51323"/>
                <a:gd name="connsiteY1248" fmla="*/ 20131 h 51323"/>
                <a:gd name="connsiteX1249" fmla="*/ 31742 w 51323"/>
                <a:gd name="connsiteY1249" fmla="*/ 19856 h 51323"/>
                <a:gd name="connsiteX1250" fmla="*/ 31175 w 51323"/>
                <a:gd name="connsiteY1250" fmla="*/ 19633 h 51323"/>
                <a:gd name="connsiteX1251" fmla="*/ 31175 w 51323"/>
                <a:gd name="connsiteY1251" fmla="*/ 19306 h 51323"/>
                <a:gd name="connsiteX1252" fmla="*/ 30746 w 51323"/>
                <a:gd name="connsiteY1252" fmla="*/ 19427 h 51323"/>
                <a:gd name="connsiteX1253" fmla="*/ 31656 w 51323"/>
                <a:gd name="connsiteY1253" fmla="*/ 20681 h 51323"/>
                <a:gd name="connsiteX1254" fmla="*/ 31983 w 51323"/>
                <a:gd name="connsiteY1254" fmla="*/ 20887 h 51323"/>
                <a:gd name="connsiteX1255" fmla="*/ 32807 w 51323"/>
                <a:gd name="connsiteY1255" fmla="*/ 21539 h 51323"/>
                <a:gd name="connsiteX1256" fmla="*/ 32532 w 51323"/>
                <a:gd name="connsiteY1256" fmla="*/ 21333 h 51323"/>
                <a:gd name="connsiteX1257" fmla="*/ 32309 w 51323"/>
                <a:gd name="connsiteY1257" fmla="*/ 21625 h 51323"/>
                <a:gd name="connsiteX1258" fmla="*/ 32309 w 51323"/>
                <a:gd name="connsiteY1258" fmla="*/ 22141 h 51323"/>
                <a:gd name="connsiteX1259" fmla="*/ 32086 w 51323"/>
                <a:gd name="connsiteY1259" fmla="*/ 22141 h 51323"/>
                <a:gd name="connsiteX1260" fmla="*/ 31794 w 51323"/>
                <a:gd name="connsiteY1260" fmla="*/ 21402 h 51323"/>
                <a:gd name="connsiteX1261" fmla="*/ 31656 w 51323"/>
                <a:gd name="connsiteY1261" fmla="*/ 21230 h 51323"/>
                <a:gd name="connsiteX1262" fmla="*/ 31330 w 51323"/>
                <a:gd name="connsiteY1262" fmla="*/ 21024 h 51323"/>
                <a:gd name="connsiteX1263" fmla="*/ 29080 w 51323"/>
                <a:gd name="connsiteY1263" fmla="*/ 20217 h 51323"/>
                <a:gd name="connsiteX1264" fmla="*/ 28633 w 51323"/>
                <a:gd name="connsiteY1264" fmla="*/ 20114 h 51323"/>
                <a:gd name="connsiteX1265" fmla="*/ 27448 w 51323"/>
                <a:gd name="connsiteY1265" fmla="*/ 21093 h 51323"/>
                <a:gd name="connsiteX1266" fmla="*/ 27448 w 51323"/>
                <a:gd name="connsiteY1266" fmla="*/ 21213 h 51323"/>
                <a:gd name="connsiteX1267" fmla="*/ 27191 w 51323"/>
                <a:gd name="connsiteY1267" fmla="*/ 22003 h 51323"/>
                <a:gd name="connsiteX1268" fmla="*/ 26847 w 51323"/>
                <a:gd name="connsiteY1268" fmla="*/ 22398 h 51323"/>
                <a:gd name="connsiteX1269" fmla="*/ 25421 w 51323"/>
                <a:gd name="connsiteY1269" fmla="*/ 22896 h 51323"/>
                <a:gd name="connsiteX1270" fmla="*/ 24700 w 51323"/>
                <a:gd name="connsiteY1270" fmla="*/ 22501 h 51323"/>
                <a:gd name="connsiteX1271" fmla="*/ 24408 w 51323"/>
                <a:gd name="connsiteY1271" fmla="*/ 22501 h 51323"/>
                <a:gd name="connsiteX1272" fmla="*/ 24511 w 51323"/>
                <a:gd name="connsiteY1272" fmla="*/ 21934 h 51323"/>
                <a:gd name="connsiteX1273" fmla="*/ 24511 w 51323"/>
                <a:gd name="connsiteY1273" fmla="*/ 21763 h 51323"/>
                <a:gd name="connsiteX1274" fmla="*/ 24631 w 51323"/>
                <a:gd name="connsiteY1274" fmla="*/ 21144 h 51323"/>
                <a:gd name="connsiteX1275" fmla="*/ 24734 w 51323"/>
                <a:gd name="connsiteY1275" fmla="*/ 20457 h 51323"/>
                <a:gd name="connsiteX1276" fmla="*/ 24734 w 51323"/>
                <a:gd name="connsiteY1276" fmla="*/ 20457 h 51323"/>
                <a:gd name="connsiteX1277" fmla="*/ 24734 w 51323"/>
                <a:gd name="connsiteY1277" fmla="*/ 20337 h 51323"/>
                <a:gd name="connsiteX1278" fmla="*/ 24734 w 51323"/>
                <a:gd name="connsiteY1278" fmla="*/ 20234 h 51323"/>
                <a:gd name="connsiteX1279" fmla="*/ 25026 w 51323"/>
                <a:gd name="connsiteY1279" fmla="*/ 20045 h 51323"/>
                <a:gd name="connsiteX1280" fmla="*/ 25490 w 51323"/>
                <a:gd name="connsiteY1280" fmla="*/ 20045 h 51323"/>
                <a:gd name="connsiteX1281" fmla="*/ 26607 w 51323"/>
                <a:gd name="connsiteY1281" fmla="*/ 20131 h 51323"/>
                <a:gd name="connsiteX1282" fmla="*/ 27276 w 51323"/>
                <a:gd name="connsiteY1282" fmla="*/ 19564 h 51323"/>
                <a:gd name="connsiteX1283" fmla="*/ 27053 w 51323"/>
                <a:gd name="connsiteY1283" fmla="*/ 19289 h 51323"/>
                <a:gd name="connsiteX1284" fmla="*/ 26813 w 51323"/>
                <a:gd name="connsiteY1284" fmla="*/ 18860 h 51323"/>
                <a:gd name="connsiteX1285" fmla="*/ 26950 w 51323"/>
                <a:gd name="connsiteY1285" fmla="*/ 18722 h 51323"/>
                <a:gd name="connsiteX1286" fmla="*/ 26727 w 51323"/>
                <a:gd name="connsiteY1286" fmla="*/ 18551 h 51323"/>
                <a:gd name="connsiteX1287" fmla="*/ 26229 w 51323"/>
                <a:gd name="connsiteY1287" fmla="*/ 18465 h 51323"/>
                <a:gd name="connsiteX1288" fmla="*/ 26229 w 51323"/>
                <a:gd name="connsiteY1288" fmla="*/ 18345 h 51323"/>
                <a:gd name="connsiteX1289" fmla="*/ 26229 w 51323"/>
                <a:gd name="connsiteY1289" fmla="*/ 18345 h 51323"/>
                <a:gd name="connsiteX1290" fmla="*/ 26229 w 51323"/>
                <a:gd name="connsiteY1290" fmla="*/ 18345 h 51323"/>
                <a:gd name="connsiteX1291" fmla="*/ 26555 w 51323"/>
                <a:gd name="connsiteY1291" fmla="*/ 18121 h 51323"/>
                <a:gd name="connsiteX1292" fmla="*/ 27019 w 51323"/>
                <a:gd name="connsiteY1292" fmla="*/ 18241 h 51323"/>
                <a:gd name="connsiteX1293" fmla="*/ 26899 w 51323"/>
                <a:gd name="connsiteY1293" fmla="*/ 17812 h 51323"/>
                <a:gd name="connsiteX1294" fmla="*/ 27105 w 51323"/>
                <a:gd name="connsiteY1294" fmla="*/ 17812 h 51323"/>
                <a:gd name="connsiteX1295" fmla="*/ 27500 w 51323"/>
                <a:gd name="connsiteY1295" fmla="*/ 17812 h 51323"/>
                <a:gd name="connsiteX1296" fmla="*/ 27775 w 51323"/>
                <a:gd name="connsiteY1296" fmla="*/ 17606 h 51323"/>
                <a:gd name="connsiteX1297" fmla="*/ 27895 w 51323"/>
                <a:gd name="connsiteY1297" fmla="*/ 17280 h 51323"/>
                <a:gd name="connsiteX1298" fmla="*/ 28444 w 51323"/>
                <a:gd name="connsiteY1298" fmla="*/ 17125 h 51323"/>
                <a:gd name="connsiteX1299" fmla="*/ 28444 w 51323"/>
                <a:gd name="connsiteY1299" fmla="*/ 17125 h 51323"/>
                <a:gd name="connsiteX1300" fmla="*/ 28547 w 51323"/>
                <a:gd name="connsiteY1300" fmla="*/ 17022 h 51323"/>
                <a:gd name="connsiteX1301" fmla="*/ 29286 w 51323"/>
                <a:gd name="connsiteY1301" fmla="*/ 16438 h 51323"/>
                <a:gd name="connsiteX1302" fmla="*/ 29458 w 51323"/>
                <a:gd name="connsiteY1302" fmla="*/ 16438 h 51323"/>
                <a:gd name="connsiteX1303" fmla="*/ 29595 w 51323"/>
                <a:gd name="connsiteY1303" fmla="*/ 16438 h 51323"/>
                <a:gd name="connsiteX1304" fmla="*/ 29956 w 51323"/>
                <a:gd name="connsiteY1304" fmla="*/ 16301 h 51323"/>
                <a:gd name="connsiteX1305" fmla="*/ 29389 w 51323"/>
                <a:gd name="connsiteY1305" fmla="*/ 15115 h 51323"/>
                <a:gd name="connsiteX1306" fmla="*/ 29664 w 51323"/>
                <a:gd name="connsiteY1306" fmla="*/ 15115 h 51323"/>
                <a:gd name="connsiteX1307" fmla="*/ 30025 w 51323"/>
                <a:gd name="connsiteY1307" fmla="*/ 15115 h 51323"/>
                <a:gd name="connsiteX1308" fmla="*/ 29922 w 51323"/>
                <a:gd name="connsiteY1308" fmla="*/ 16009 h 51323"/>
                <a:gd name="connsiteX1309" fmla="*/ 30059 w 51323"/>
                <a:gd name="connsiteY1309" fmla="*/ 16094 h 51323"/>
                <a:gd name="connsiteX1310" fmla="*/ 30883 w 51323"/>
                <a:gd name="connsiteY1310" fmla="*/ 16094 h 51323"/>
                <a:gd name="connsiteX1311" fmla="*/ 32103 w 51323"/>
                <a:gd name="connsiteY1311" fmla="*/ 15768 h 51323"/>
                <a:gd name="connsiteX1312" fmla="*/ 32326 w 51323"/>
                <a:gd name="connsiteY1312" fmla="*/ 15768 h 51323"/>
                <a:gd name="connsiteX1313" fmla="*/ 32189 w 51323"/>
                <a:gd name="connsiteY1313" fmla="*/ 15905 h 51323"/>
                <a:gd name="connsiteX1314" fmla="*/ 32704 w 51323"/>
                <a:gd name="connsiteY1314" fmla="*/ 14497 h 51323"/>
                <a:gd name="connsiteX1315" fmla="*/ 33031 w 51323"/>
                <a:gd name="connsiteY1315" fmla="*/ 14222 h 51323"/>
                <a:gd name="connsiteX1316" fmla="*/ 32842 w 51323"/>
                <a:gd name="connsiteY1316" fmla="*/ 14068 h 51323"/>
                <a:gd name="connsiteX1317" fmla="*/ 32842 w 51323"/>
                <a:gd name="connsiteY1317" fmla="*/ 13690 h 51323"/>
                <a:gd name="connsiteX1318" fmla="*/ 32979 w 51323"/>
                <a:gd name="connsiteY1318" fmla="*/ 13690 h 51323"/>
                <a:gd name="connsiteX1319" fmla="*/ 33615 w 51323"/>
                <a:gd name="connsiteY1319" fmla="*/ 13793 h 51323"/>
                <a:gd name="connsiteX1320" fmla="*/ 33752 w 51323"/>
                <a:gd name="connsiteY1320" fmla="*/ 13466 h 51323"/>
                <a:gd name="connsiteX1321" fmla="*/ 33546 w 51323"/>
                <a:gd name="connsiteY1321" fmla="*/ 13192 h 51323"/>
                <a:gd name="connsiteX1322" fmla="*/ 33408 w 51323"/>
                <a:gd name="connsiteY1322" fmla="*/ 13192 h 51323"/>
                <a:gd name="connsiteX1323" fmla="*/ 33031 w 51323"/>
                <a:gd name="connsiteY1323" fmla="*/ 13312 h 51323"/>
                <a:gd name="connsiteX1324" fmla="*/ 33031 w 51323"/>
                <a:gd name="connsiteY1324" fmla="*/ 13312 h 51323"/>
                <a:gd name="connsiteX1325" fmla="*/ 33031 w 51323"/>
                <a:gd name="connsiteY1325" fmla="*/ 13312 h 51323"/>
                <a:gd name="connsiteX1326" fmla="*/ 32567 w 51323"/>
                <a:gd name="connsiteY1326" fmla="*/ 13621 h 51323"/>
                <a:gd name="connsiteX1327" fmla="*/ 32172 w 51323"/>
                <a:gd name="connsiteY1327" fmla="*/ 13260 h 51323"/>
                <a:gd name="connsiteX1328" fmla="*/ 31914 w 51323"/>
                <a:gd name="connsiteY1328" fmla="*/ 12058 h 51323"/>
                <a:gd name="connsiteX1329" fmla="*/ 32017 w 51323"/>
                <a:gd name="connsiteY1329" fmla="*/ 12058 h 51323"/>
                <a:gd name="connsiteX1330" fmla="*/ 32017 w 51323"/>
                <a:gd name="connsiteY1330" fmla="*/ 11817 h 51323"/>
                <a:gd name="connsiteX1331" fmla="*/ 32309 w 51323"/>
                <a:gd name="connsiteY1331" fmla="*/ 11457 h 51323"/>
                <a:gd name="connsiteX1332" fmla="*/ 31502 w 51323"/>
                <a:gd name="connsiteY1332" fmla="*/ 11182 h 51323"/>
                <a:gd name="connsiteX1333" fmla="*/ 31656 w 51323"/>
                <a:gd name="connsiteY1333" fmla="*/ 11714 h 51323"/>
                <a:gd name="connsiteX1334" fmla="*/ 31038 w 51323"/>
                <a:gd name="connsiteY1334" fmla="*/ 12590 h 51323"/>
                <a:gd name="connsiteX1335" fmla="*/ 31175 w 51323"/>
                <a:gd name="connsiteY1335" fmla="*/ 12968 h 51323"/>
                <a:gd name="connsiteX1336" fmla="*/ 31382 w 51323"/>
                <a:gd name="connsiteY1336" fmla="*/ 13793 h 51323"/>
                <a:gd name="connsiteX1337" fmla="*/ 31210 w 51323"/>
                <a:gd name="connsiteY1337" fmla="*/ 13913 h 51323"/>
                <a:gd name="connsiteX1338" fmla="*/ 31485 w 51323"/>
                <a:gd name="connsiteY1338" fmla="*/ 14050 h 51323"/>
                <a:gd name="connsiteX1339" fmla="*/ 31364 w 51323"/>
                <a:gd name="connsiteY1339" fmla="*/ 14188 h 51323"/>
                <a:gd name="connsiteX1340" fmla="*/ 31364 w 51323"/>
                <a:gd name="connsiteY1340" fmla="*/ 14342 h 51323"/>
                <a:gd name="connsiteX1341" fmla="*/ 31364 w 51323"/>
                <a:gd name="connsiteY1341" fmla="*/ 14514 h 51323"/>
                <a:gd name="connsiteX1342" fmla="*/ 31090 w 51323"/>
                <a:gd name="connsiteY1342" fmla="*/ 15236 h 51323"/>
                <a:gd name="connsiteX1343" fmla="*/ 30162 w 51323"/>
                <a:gd name="connsiteY1343" fmla="*/ 14050 h 51323"/>
                <a:gd name="connsiteX1344" fmla="*/ 29939 w 51323"/>
                <a:gd name="connsiteY1344" fmla="*/ 13810 h 51323"/>
                <a:gd name="connsiteX1345" fmla="*/ 29939 w 51323"/>
                <a:gd name="connsiteY1345" fmla="*/ 14102 h 51323"/>
                <a:gd name="connsiteX1346" fmla="*/ 29733 w 51323"/>
                <a:gd name="connsiteY1346" fmla="*/ 13965 h 51323"/>
                <a:gd name="connsiteX1347" fmla="*/ 29595 w 51323"/>
                <a:gd name="connsiteY1347" fmla="*/ 14291 h 51323"/>
                <a:gd name="connsiteX1348" fmla="*/ 29183 w 51323"/>
                <a:gd name="connsiteY1348" fmla="*/ 14428 h 51323"/>
                <a:gd name="connsiteX1349" fmla="*/ 29183 w 51323"/>
                <a:gd name="connsiteY1349" fmla="*/ 14102 h 51323"/>
                <a:gd name="connsiteX1350" fmla="*/ 29011 w 51323"/>
                <a:gd name="connsiteY1350" fmla="*/ 13879 h 51323"/>
                <a:gd name="connsiteX1351" fmla="*/ 29011 w 51323"/>
                <a:gd name="connsiteY1351" fmla="*/ 13879 h 51323"/>
                <a:gd name="connsiteX1352" fmla="*/ 29166 w 51323"/>
                <a:gd name="connsiteY1352" fmla="*/ 13776 h 51323"/>
                <a:gd name="connsiteX1353" fmla="*/ 29166 w 51323"/>
                <a:gd name="connsiteY1353" fmla="*/ 13655 h 51323"/>
                <a:gd name="connsiteX1354" fmla="*/ 29164 w 51323"/>
                <a:gd name="connsiteY1354" fmla="*/ 13485 h 51323"/>
                <a:gd name="connsiteX1355" fmla="*/ 29166 w 51323"/>
                <a:gd name="connsiteY1355" fmla="*/ 13484 h 51323"/>
                <a:gd name="connsiteX1356" fmla="*/ 28943 w 51323"/>
                <a:gd name="connsiteY1356" fmla="*/ 13484 h 51323"/>
                <a:gd name="connsiteX1357" fmla="*/ 28943 w 51323"/>
                <a:gd name="connsiteY1357" fmla="*/ 13381 h 51323"/>
                <a:gd name="connsiteX1358" fmla="*/ 29355 w 51323"/>
                <a:gd name="connsiteY1358" fmla="*/ 13157 h 51323"/>
                <a:gd name="connsiteX1359" fmla="*/ 28994 w 51323"/>
                <a:gd name="connsiteY1359" fmla="*/ 13157 h 51323"/>
                <a:gd name="connsiteX1360" fmla="*/ 29183 w 51323"/>
                <a:gd name="connsiteY1360" fmla="*/ 13020 h 51323"/>
                <a:gd name="connsiteX1361" fmla="*/ 29046 w 51323"/>
                <a:gd name="connsiteY1361" fmla="*/ 12917 h 51323"/>
                <a:gd name="connsiteX1362" fmla="*/ 29183 w 51323"/>
                <a:gd name="connsiteY1362" fmla="*/ 12917 h 51323"/>
                <a:gd name="connsiteX1363" fmla="*/ 29183 w 51323"/>
                <a:gd name="connsiteY1363" fmla="*/ 12797 h 51323"/>
                <a:gd name="connsiteX1364" fmla="*/ 29441 w 51323"/>
                <a:gd name="connsiteY1364" fmla="*/ 12797 h 51323"/>
                <a:gd name="connsiteX1365" fmla="*/ 29578 w 51323"/>
                <a:gd name="connsiteY1365" fmla="*/ 12797 h 51323"/>
                <a:gd name="connsiteX1366" fmla="*/ 29578 w 51323"/>
                <a:gd name="connsiteY1366" fmla="*/ 12676 h 51323"/>
                <a:gd name="connsiteX1367" fmla="*/ 29767 w 51323"/>
                <a:gd name="connsiteY1367" fmla="*/ 12676 h 51323"/>
                <a:gd name="connsiteX1368" fmla="*/ 30059 w 51323"/>
                <a:gd name="connsiteY1368" fmla="*/ 12298 h 51323"/>
                <a:gd name="connsiteX1369" fmla="*/ 29801 w 51323"/>
                <a:gd name="connsiteY1369" fmla="*/ 12419 h 51323"/>
                <a:gd name="connsiteX1370" fmla="*/ 29801 w 51323"/>
                <a:gd name="connsiteY1370" fmla="*/ 12195 h 51323"/>
                <a:gd name="connsiteX1371" fmla="*/ 30145 w 51323"/>
                <a:gd name="connsiteY1371" fmla="*/ 11766 h 51323"/>
                <a:gd name="connsiteX1372" fmla="*/ 30145 w 51323"/>
                <a:gd name="connsiteY1372" fmla="*/ 11611 h 51323"/>
                <a:gd name="connsiteX1373" fmla="*/ 30145 w 51323"/>
                <a:gd name="connsiteY1373" fmla="*/ 11525 h 51323"/>
                <a:gd name="connsiteX1374" fmla="*/ 30145 w 51323"/>
                <a:gd name="connsiteY1374" fmla="*/ 11337 h 51323"/>
                <a:gd name="connsiteX1375" fmla="*/ 30025 w 51323"/>
                <a:gd name="connsiteY1375" fmla="*/ 11148 h 51323"/>
                <a:gd name="connsiteX1376" fmla="*/ 30334 w 51323"/>
                <a:gd name="connsiteY1376" fmla="*/ 10976 h 51323"/>
                <a:gd name="connsiteX1377" fmla="*/ 30334 w 51323"/>
                <a:gd name="connsiteY1377" fmla="*/ 10838 h 51323"/>
                <a:gd name="connsiteX1378" fmla="*/ 30334 w 51323"/>
                <a:gd name="connsiteY1378" fmla="*/ 10684 h 51323"/>
                <a:gd name="connsiteX1379" fmla="*/ 30334 w 51323"/>
                <a:gd name="connsiteY1379" fmla="*/ 10478 h 51323"/>
                <a:gd name="connsiteX1380" fmla="*/ 30506 w 51323"/>
                <a:gd name="connsiteY1380" fmla="*/ 10478 h 51323"/>
                <a:gd name="connsiteX1381" fmla="*/ 30506 w 51323"/>
                <a:gd name="connsiteY1381" fmla="*/ 10323 h 51323"/>
                <a:gd name="connsiteX1382" fmla="*/ 30506 w 51323"/>
                <a:gd name="connsiteY1382" fmla="*/ 10220 h 51323"/>
                <a:gd name="connsiteX1383" fmla="*/ 30609 w 51323"/>
                <a:gd name="connsiteY1383" fmla="*/ 10117 h 51323"/>
                <a:gd name="connsiteX1384" fmla="*/ 30609 w 51323"/>
                <a:gd name="connsiteY1384" fmla="*/ 10117 h 51323"/>
                <a:gd name="connsiteX1385" fmla="*/ 30609 w 51323"/>
                <a:gd name="connsiteY1385" fmla="*/ 10117 h 51323"/>
                <a:gd name="connsiteX1386" fmla="*/ 30609 w 51323"/>
                <a:gd name="connsiteY1386" fmla="*/ 10117 h 51323"/>
                <a:gd name="connsiteX1387" fmla="*/ 30798 w 51323"/>
                <a:gd name="connsiteY1387" fmla="*/ 10117 h 51323"/>
                <a:gd name="connsiteX1388" fmla="*/ 30798 w 51323"/>
                <a:gd name="connsiteY1388" fmla="*/ 9739 h 51323"/>
                <a:gd name="connsiteX1389" fmla="*/ 31124 w 51323"/>
                <a:gd name="connsiteY1389" fmla="*/ 9894 h 51323"/>
                <a:gd name="connsiteX1390" fmla="*/ 31124 w 51323"/>
                <a:gd name="connsiteY1390" fmla="*/ 9619 h 51323"/>
                <a:gd name="connsiteX1391" fmla="*/ 31124 w 51323"/>
                <a:gd name="connsiteY1391" fmla="*/ 9619 h 51323"/>
                <a:gd name="connsiteX1392" fmla="*/ 31124 w 51323"/>
                <a:gd name="connsiteY1392" fmla="*/ 9619 h 51323"/>
                <a:gd name="connsiteX1393" fmla="*/ 31261 w 51323"/>
                <a:gd name="connsiteY1393" fmla="*/ 9619 h 51323"/>
                <a:gd name="connsiteX1394" fmla="*/ 31450 w 51323"/>
                <a:gd name="connsiteY1394" fmla="*/ 9499 h 51323"/>
                <a:gd name="connsiteX1395" fmla="*/ 31553 w 51323"/>
                <a:gd name="connsiteY1395" fmla="*/ 9842 h 51323"/>
                <a:gd name="connsiteX1396" fmla="*/ 31674 w 51323"/>
                <a:gd name="connsiteY1396" fmla="*/ 9842 h 51323"/>
                <a:gd name="connsiteX1397" fmla="*/ 31845 w 51323"/>
                <a:gd name="connsiteY1397" fmla="*/ 9842 h 51323"/>
                <a:gd name="connsiteX1398" fmla="*/ 31742 w 51323"/>
                <a:gd name="connsiteY1398" fmla="*/ 10031 h 51323"/>
                <a:gd name="connsiteX1399" fmla="*/ 32000 w 51323"/>
                <a:gd name="connsiteY1399" fmla="*/ 10220 h 51323"/>
                <a:gd name="connsiteX1400" fmla="*/ 32275 w 51323"/>
                <a:gd name="connsiteY1400" fmla="*/ 10220 h 51323"/>
                <a:gd name="connsiteX1401" fmla="*/ 32275 w 51323"/>
                <a:gd name="connsiteY1401" fmla="*/ 10048 h 51323"/>
                <a:gd name="connsiteX1402" fmla="*/ 32378 w 51323"/>
                <a:gd name="connsiteY1402" fmla="*/ 10048 h 51323"/>
                <a:gd name="connsiteX1403" fmla="*/ 32584 w 51323"/>
                <a:gd name="connsiteY1403" fmla="*/ 10220 h 51323"/>
                <a:gd name="connsiteX1404" fmla="*/ 33683 w 51323"/>
                <a:gd name="connsiteY1404" fmla="*/ 10529 h 51323"/>
                <a:gd name="connsiteX1405" fmla="*/ 33804 w 51323"/>
                <a:gd name="connsiteY1405" fmla="*/ 10529 h 51323"/>
                <a:gd name="connsiteX1406" fmla="*/ 33597 w 51323"/>
                <a:gd name="connsiteY1406" fmla="*/ 11354 h 51323"/>
                <a:gd name="connsiteX1407" fmla="*/ 33426 w 51323"/>
                <a:gd name="connsiteY1407" fmla="*/ 11354 h 51323"/>
                <a:gd name="connsiteX1408" fmla="*/ 33065 w 51323"/>
                <a:gd name="connsiteY1408" fmla="*/ 11354 h 51323"/>
                <a:gd name="connsiteX1409" fmla="*/ 33357 w 51323"/>
                <a:gd name="connsiteY1409" fmla="*/ 11663 h 51323"/>
                <a:gd name="connsiteX1410" fmla="*/ 34576 w 51323"/>
                <a:gd name="connsiteY1410" fmla="*/ 12333 h 51323"/>
                <a:gd name="connsiteX1411" fmla="*/ 34250 w 51323"/>
                <a:gd name="connsiteY1411" fmla="*/ 12006 h 51323"/>
                <a:gd name="connsiteX1412" fmla="*/ 34972 w 51323"/>
                <a:gd name="connsiteY1412" fmla="*/ 11474 h 51323"/>
                <a:gd name="connsiteX1413" fmla="*/ 35143 w 51323"/>
                <a:gd name="connsiteY1413" fmla="*/ 11474 h 51323"/>
                <a:gd name="connsiteX1414" fmla="*/ 34181 w 51323"/>
                <a:gd name="connsiteY1414" fmla="*/ 10340 h 51323"/>
                <a:gd name="connsiteX1415" fmla="*/ 34800 w 51323"/>
                <a:gd name="connsiteY1415" fmla="*/ 10753 h 51323"/>
                <a:gd name="connsiteX1416" fmla="*/ 35143 w 51323"/>
                <a:gd name="connsiteY1416" fmla="*/ 10529 h 51323"/>
                <a:gd name="connsiteX1417" fmla="*/ 35401 w 51323"/>
                <a:gd name="connsiteY1417" fmla="*/ 10289 h 51323"/>
                <a:gd name="connsiteX1418" fmla="*/ 35401 w 51323"/>
                <a:gd name="connsiteY1418" fmla="*/ 10151 h 51323"/>
                <a:gd name="connsiteX1419" fmla="*/ 35727 w 51323"/>
                <a:gd name="connsiteY1419" fmla="*/ 10306 h 51323"/>
                <a:gd name="connsiteX1420" fmla="*/ 35727 w 51323"/>
                <a:gd name="connsiteY1420" fmla="*/ 10306 h 51323"/>
                <a:gd name="connsiteX1421" fmla="*/ 35830 w 51323"/>
                <a:gd name="connsiteY1421" fmla="*/ 9842 h 51323"/>
                <a:gd name="connsiteX1422" fmla="*/ 36019 w 51323"/>
                <a:gd name="connsiteY1422" fmla="*/ 9945 h 51323"/>
                <a:gd name="connsiteX1423" fmla="*/ 36122 w 51323"/>
                <a:gd name="connsiteY1423" fmla="*/ 9945 h 51323"/>
                <a:gd name="connsiteX1424" fmla="*/ 35848 w 51323"/>
                <a:gd name="connsiteY1424" fmla="*/ 9773 h 51323"/>
                <a:gd name="connsiteX1425" fmla="*/ 35848 w 51323"/>
                <a:gd name="connsiteY1425" fmla="*/ 9773 h 51323"/>
                <a:gd name="connsiteX1426" fmla="*/ 36981 w 51323"/>
                <a:gd name="connsiteY1426" fmla="*/ 9894 h 51323"/>
                <a:gd name="connsiteX1427" fmla="*/ 36260 w 51323"/>
                <a:gd name="connsiteY1427" fmla="*/ 9361 h 51323"/>
                <a:gd name="connsiteX1428" fmla="*/ 36260 w 51323"/>
                <a:gd name="connsiteY1428" fmla="*/ 9361 h 51323"/>
                <a:gd name="connsiteX1429" fmla="*/ 36140 w 51323"/>
                <a:gd name="connsiteY1429" fmla="*/ 9361 h 51323"/>
                <a:gd name="connsiteX1430" fmla="*/ 36140 w 51323"/>
                <a:gd name="connsiteY1430" fmla="*/ 9361 h 51323"/>
                <a:gd name="connsiteX1431" fmla="*/ 35882 w 51323"/>
                <a:gd name="connsiteY1431" fmla="*/ 9155 h 51323"/>
                <a:gd name="connsiteX1432" fmla="*/ 35727 w 51323"/>
                <a:gd name="connsiteY1432" fmla="*/ 8983 h 51323"/>
                <a:gd name="connsiteX1433" fmla="*/ 34594 w 51323"/>
                <a:gd name="connsiteY1433" fmla="*/ 7884 h 51323"/>
                <a:gd name="connsiteX1434" fmla="*/ 37136 w 51323"/>
                <a:gd name="connsiteY1434" fmla="*/ 9602 h 51323"/>
                <a:gd name="connsiteX1435" fmla="*/ 37136 w 51323"/>
                <a:gd name="connsiteY1435" fmla="*/ 9602 h 51323"/>
                <a:gd name="connsiteX1436" fmla="*/ 37806 w 51323"/>
                <a:gd name="connsiteY1436" fmla="*/ 10289 h 51323"/>
                <a:gd name="connsiteX1437" fmla="*/ 37806 w 51323"/>
                <a:gd name="connsiteY1437" fmla="*/ 10289 h 51323"/>
                <a:gd name="connsiteX1438" fmla="*/ 37806 w 51323"/>
                <a:gd name="connsiteY1438" fmla="*/ 10289 h 51323"/>
                <a:gd name="connsiteX1439" fmla="*/ 37703 w 51323"/>
                <a:gd name="connsiteY1439" fmla="*/ 10426 h 51323"/>
                <a:gd name="connsiteX1440" fmla="*/ 37101 w 51323"/>
                <a:gd name="connsiteY1440" fmla="*/ 9275 h 51323"/>
                <a:gd name="connsiteX1441" fmla="*/ 37101 w 51323"/>
                <a:gd name="connsiteY1441" fmla="*/ 9275 h 51323"/>
                <a:gd name="connsiteX1442" fmla="*/ 34851 w 51323"/>
                <a:gd name="connsiteY1442" fmla="*/ 7850 h 51323"/>
                <a:gd name="connsiteX1443" fmla="*/ 35933 w 51323"/>
                <a:gd name="connsiteY1443" fmla="*/ 8451 h 51323"/>
                <a:gd name="connsiteX1444" fmla="*/ 36105 w 51323"/>
                <a:gd name="connsiteY1444" fmla="*/ 8451 h 51323"/>
                <a:gd name="connsiteX1445" fmla="*/ 35367 w 51323"/>
                <a:gd name="connsiteY1445" fmla="*/ 8125 h 51323"/>
                <a:gd name="connsiteX1446" fmla="*/ 35367 w 51323"/>
                <a:gd name="connsiteY1446" fmla="*/ 8039 h 51323"/>
                <a:gd name="connsiteX1447" fmla="*/ 35367 w 51323"/>
                <a:gd name="connsiteY1447" fmla="*/ 8039 h 51323"/>
                <a:gd name="connsiteX1448" fmla="*/ 36363 w 51323"/>
                <a:gd name="connsiteY1448" fmla="*/ 8331 h 51323"/>
                <a:gd name="connsiteX1449" fmla="*/ 37256 w 51323"/>
                <a:gd name="connsiteY1449" fmla="*/ 8812 h 51323"/>
                <a:gd name="connsiteX1450" fmla="*/ 37428 w 51323"/>
                <a:gd name="connsiteY1450" fmla="*/ 8812 h 51323"/>
                <a:gd name="connsiteX1451" fmla="*/ 37101 w 51323"/>
                <a:gd name="connsiteY1451" fmla="*/ 8709 h 51323"/>
                <a:gd name="connsiteX1452" fmla="*/ 35384 w 51323"/>
                <a:gd name="connsiteY1452" fmla="*/ 7798 h 51323"/>
                <a:gd name="connsiteX1453" fmla="*/ 34525 w 51323"/>
                <a:gd name="connsiteY1453" fmla="*/ 7231 h 51323"/>
                <a:gd name="connsiteX1454" fmla="*/ 34851 w 51323"/>
                <a:gd name="connsiteY1454" fmla="*/ 7317 h 51323"/>
                <a:gd name="connsiteX1455" fmla="*/ 34267 w 51323"/>
                <a:gd name="connsiteY1455" fmla="*/ 7008 h 51323"/>
                <a:gd name="connsiteX1456" fmla="*/ 34027 w 51323"/>
                <a:gd name="connsiteY1456" fmla="*/ 6922 h 51323"/>
                <a:gd name="connsiteX1457" fmla="*/ 34027 w 51323"/>
                <a:gd name="connsiteY1457" fmla="*/ 6922 h 51323"/>
                <a:gd name="connsiteX1458" fmla="*/ 33872 w 51323"/>
                <a:gd name="connsiteY1458" fmla="*/ 6922 h 51323"/>
                <a:gd name="connsiteX1459" fmla="*/ 33872 w 51323"/>
                <a:gd name="connsiteY1459" fmla="*/ 6922 h 51323"/>
                <a:gd name="connsiteX1460" fmla="*/ 33615 w 51323"/>
                <a:gd name="connsiteY1460" fmla="*/ 6768 h 51323"/>
                <a:gd name="connsiteX1461" fmla="*/ 33615 w 51323"/>
                <a:gd name="connsiteY1461" fmla="*/ 6768 h 51323"/>
                <a:gd name="connsiteX1462" fmla="*/ 33168 w 51323"/>
                <a:gd name="connsiteY1462" fmla="*/ 6458 h 51323"/>
                <a:gd name="connsiteX1463" fmla="*/ 33168 w 51323"/>
                <a:gd name="connsiteY1463" fmla="*/ 6458 h 51323"/>
                <a:gd name="connsiteX1464" fmla="*/ 32910 w 51323"/>
                <a:gd name="connsiteY1464" fmla="*/ 6287 h 51323"/>
                <a:gd name="connsiteX1465" fmla="*/ 32910 w 51323"/>
                <a:gd name="connsiteY1465" fmla="*/ 6287 h 51323"/>
                <a:gd name="connsiteX1466" fmla="*/ 32910 w 51323"/>
                <a:gd name="connsiteY1466" fmla="*/ 6287 h 51323"/>
                <a:gd name="connsiteX1467" fmla="*/ 32910 w 51323"/>
                <a:gd name="connsiteY1467" fmla="*/ 6287 h 51323"/>
                <a:gd name="connsiteX1468" fmla="*/ 32687 w 51323"/>
                <a:gd name="connsiteY1468" fmla="*/ 6184 h 51323"/>
                <a:gd name="connsiteX1469" fmla="*/ 32687 w 51323"/>
                <a:gd name="connsiteY1469" fmla="*/ 6184 h 51323"/>
                <a:gd name="connsiteX1470" fmla="*/ 32687 w 51323"/>
                <a:gd name="connsiteY1470" fmla="*/ 6184 h 51323"/>
                <a:gd name="connsiteX1471" fmla="*/ 32687 w 51323"/>
                <a:gd name="connsiteY1471" fmla="*/ 6184 h 51323"/>
                <a:gd name="connsiteX1472" fmla="*/ 32687 w 51323"/>
                <a:gd name="connsiteY1472" fmla="*/ 6184 h 51323"/>
                <a:gd name="connsiteX1473" fmla="*/ 32962 w 51323"/>
                <a:gd name="connsiteY1473" fmla="*/ 6287 h 51323"/>
                <a:gd name="connsiteX1474" fmla="*/ 32739 w 51323"/>
                <a:gd name="connsiteY1474" fmla="*/ 6184 h 51323"/>
                <a:gd name="connsiteX1475" fmla="*/ 32893 w 51323"/>
                <a:gd name="connsiteY1475" fmla="*/ 6184 h 51323"/>
                <a:gd name="connsiteX1476" fmla="*/ 32807 w 51323"/>
                <a:gd name="connsiteY1476" fmla="*/ 6184 h 51323"/>
                <a:gd name="connsiteX1477" fmla="*/ 32670 w 51323"/>
                <a:gd name="connsiteY1477" fmla="*/ 6184 h 51323"/>
                <a:gd name="connsiteX1478" fmla="*/ 32670 w 51323"/>
                <a:gd name="connsiteY1478" fmla="*/ 6184 h 51323"/>
                <a:gd name="connsiteX1479" fmla="*/ 32532 w 51323"/>
                <a:gd name="connsiteY1479" fmla="*/ 6184 h 51323"/>
                <a:gd name="connsiteX1480" fmla="*/ 32876 w 51323"/>
                <a:gd name="connsiteY1480" fmla="*/ 6304 h 51323"/>
                <a:gd name="connsiteX1481" fmla="*/ 32481 w 51323"/>
                <a:gd name="connsiteY1481" fmla="*/ 6166 h 51323"/>
                <a:gd name="connsiteX1482" fmla="*/ 32481 w 51323"/>
                <a:gd name="connsiteY1482" fmla="*/ 6166 h 51323"/>
                <a:gd name="connsiteX1483" fmla="*/ 32343 w 51323"/>
                <a:gd name="connsiteY1483" fmla="*/ 6166 h 51323"/>
                <a:gd name="connsiteX1484" fmla="*/ 32343 w 51323"/>
                <a:gd name="connsiteY1484" fmla="*/ 6166 h 51323"/>
                <a:gd name="connsiteX1485" fmla="*/ 32343 w 51323"/>
                <a:gd name="connsiteY1485" fmla="*/ 6166 h 51323"/>
                <a:gd name="connsiteX1486" fmla="*/ 32206 w 51323"/>
                <a:gd name="connsiteY1486" fmla="*/ 6166 h 51323"/>
                <a:gd name="connsiteX1487" fmla="*/ 32206 w 51323"/>
                <a:gd name="connsiteY1487" fmla="*/ 6166 h 51323"/>
                <a:gd name="connsiteX1488" fmla="*/ 31742 w 51323"/>
                <a:gd name="connsiteY1488" fmla="*/ 6029 h 51323"/>
                <a:gd name="connsiteX1489" fmla="*/ 31742 w 51323"/>
                <a:gd name="connsiteY1489" fmla="*/ 6029 h 51323"/>
                <a:gd name="connsiteX1490" fmla="*/ 30952 w 51323"/>
                <a:gd name="connsiteY1490" fmla="*/ 5754 h 51323"/>
                <a:gd name="connsiteX1491" fmla="*/ 30952 w 51323"/>
                <a:gd name="connsiteY1491" fmla="*/ 5754 h 51323"/>
                <a:gd name="connsiteX1492" fmla="*/ 31055 w 51323"/>
                <a:gd name="connsiteY1492" fmla="*/ 5754 h 51323"/>
                <a:gd name="connsiteX1493" fmla="*/ 31055 w 51323"/>
                <a:gd name="connsiteY1493" fmla="*/ 5754 h 51323"/>
                <a:gd name="connsiteX1494" fmla="*/ 31605 w 51323"/>
                <a:gd name="connsiteY1494" fmla="*/ 5909 h 51323"/>
                <a:gd name="connsiteX1495" fmla="*/ 31416 w 51323"/>
                <a:gd name="connsiteY1495" fmla="*/ 5909 h 51323"/>
                <a:gd name="connsiteX1496" fmla="*/ 31588 w 51323"/>
                <a:gd name="connsiteY1496" fmla="*/ 5909 h 51323"/>
                <a:gd name="connsiteX1497" fmla="*/ 31485 w 51323"/>
                <a:gd name="connsiteY1497" fmla="*/ 5909 h 51323"/>
                <a:gd name="connsiteX1498" fmla="*/ 31485 w 51323"/>
                <a:gd name="connsiteY1498" fmla="*/ 5909 h 51323"/>
                <a:gd name="connsiteX1499" fmla="*/ 31485 w 51323"/>
                <a:gd name="connsiteY1499" fmla="*/ 5909 h 51323"/>
                <a:gd name="connsiteX1500" fmla="*/ 31811 w 51323"/>
                <a:gd name="connsiteY1500" fmla="*/ 5909 h 51323"/>
                <a:gd name="connsiteX1501" fmla="*/ 31811 w 51323"/>
                <a:gd name="connsiteY1501" fmla="*/ 5909 h 51323"/>
                <a:gd name="connsiteX1502" fmla="*/ 31708 w 51323"/>
                <a:gd name="connsiteY1502" fmla="*/ 5909 h 51323"/>
                <a:gd name="connsiteX1503" fmla="*/ 31708 w 51323"/>
                <a:gd name="connsiteY1503" fmla="*/ 5909 h 51323"/>
                <a:gd name="connsiteX1504" fmla="*/ 31708 w 51323"/>
                <a:gd name="connsiteY1504" fmla="*/ 5909 h 51323"/>
                <a:gd name="connsiteX1505" fmla="*/ 31708 w 51323"/>
                <a:gd name="connsiteY1505" fmla="*/ 5909 h 51323"/>
                <a:gd name="connsiteX1506" fmla="*/ 31708 w 51323"/>
                <a:gd name="connsiteY1506" fmla="*/ 5909 h 51323"/>
                <a:gd name="connsiteX1507" fmla="*/ 32292 w 51323"/>
                <a:gd name="connsiteY1507" fmla="*/ 6046 h 51323"/>
                <a:gd name="connsiteX1508" fmla="*/ 32051 w 51323"/>
                <a:gd name="connsiteY1508" fmla="*/ 6046 h 51323"/>
                <a:gd name="connsiteX1509" fmla="*/ 32378 w 51323"/>
                <a:gd name="connsiteY1509" fmla="*/ 6046 h 51323"/>
                <a:gd name="connsiteX1510" fmla="*/ 32635 w 51323"/>
                <a:gd name="connsiteY1510" fmla="*/ 6046 h 51323"/>
                <a:gd name="connsiteX1511" fmla="*/ 32635 w 51323"/>
                <a:gd name="connsiteY1511" fmla="*/ 6046 h 51323"/>
                <a:gd name="connsiteX1512" fmla="*/ 32773 w 51323"/>
                <a:gd name="connsiteY1512" fmla="*/ 6046 h 51323"/>
                <a:gd name="connsiteX1513" fmla="*/ 32773 w 51323"/>
                <a:gd name="connsiteY1513" fmla="*/ 6046 h 51323"/>
                <a:gd name="connsiteX1514" fmla="*/ 32773 w 51323"/>
                <a:gd name="connsiteY1514" fmla="*/ 6046 h 51323"/>
                <a:gd name="connsiteX1515" fmla="*/ 34010 w 51323"/>
                <a:gd name="connsiteY1515" fmla="*/ 6493 h 51323"/>
                <a:gd name="connsiteX1516" fmla="*/ 34010 w 51323"/>
                <a:gd name="connsiteY1516" fmla="*/ 6493 h 51323"/>
                <a:gd name="connsiteX1517" fmla="*/ 34645 w 51323"/>
                <a:gd name="connsiteY1517" fmla="*/ 6768 h 51323"/>
                <a:gd name="connsiteX1518" fmla="*/ 34645 w 51323"/>
                <a:gd name="connsiteY1518" fmla="*/ 6768 h 51323"/>
                <a:gd name="connsiteX1519" fmla="*/ 35470 w 51323"/>
                <a:gd name="connsiteY1519" fmla="*/ 7163 h 51323"/>
                <a:gd name="connsiteX1520" fmla="*/ 34662 w 51323"/>
                <a:gd name="connsiteY1520" fmla="*/ 6733 h 51323"/>
                <a:gd name="connsiteX1521" fmla="*/ 34662 w 51323"/>
                <a:gd name="connsiteY1521" fmla="*/ 6733 h 51323"/>
                <a:gd name="connsiteX1522" fmla="*/ 34353 w 51323"/>
                <a:gd name="connsiteY1522" fmla="*/ 6596 h 51323"/>
                <a:gd name="connsiteX1523" fmla="*/ 34491 w 51323"/>
                <a:gd name="connsiteY1523" fmla="*/ 6596 h 51323"/>
                <a:gd name="connsiteX1524" fmla="*/ 34250 w 51323"/>
                <a:gd name="connsiteY1524" fmla="*/ 6493 h 51323"/>
                <a:gd name="connsiteX1525" fmla="*/ 34113 w 51323"/>
                <a:gd name="connsiteY1525" fmla="*/ 6493 h 51323"/>
                <a:gd name="connsiteX1526" fmla="*/ 34422 w 51323"/>
                <a:gd name="connsiteY1526" fmla="*/ 6596 h 51323"/>
                <a:gd name="connsiteX1527" fmla="*/ 34113 w 51323"/>
                <a:gd name="connsiteY1527" fmla="*/ 6476 h 51323"/>
                <a:gd name="connsiteX1528" fmla="*/ 34628 w 51323"/>
                <a:gd name="connsiteY1528" fmla="*/ 6630 h 51323"/>
                <a:gd name="connsiteX1529" fmla="*/ 34473 w 51323"/>
                <a:gd name="connsiteY1529" fmla="*/ 6630 h 51323"/>
                <a:gd name="connsiteX1530" fmla="*/ 34473 w 51323"/>
                <a:gd name="connsiteY1530" fmla="*/ 6630 h 51323"/>
                <a:gd name="connsiteX1531" fmla="*/ 33700 w 51323"/>
                <a:gd name="connsiteY1531" fmla="*/ 4827 h 51323"/>
                <a:gd name="connsiteX1532" fmla="*/ 49314 w 51323"/>
                <a:gd name="connsiteY1532" fmla="*/ 25438 h 51323"/>
                <a:gd name="connsiteX1533" fmla="*/ 49177 w 51323"/>
                <a:gd name="connsiteY1533" fmla="*/ 26452 h 51323"/>
                <a:gd name="connsiteX1534" fmla="*/ 49159 w 51323"/>
                <a:gd name="connsiteY1534" fmla="*/ 26589 h 51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</a:cxnLst>
              <a:rect l="l" t="t" r="r" b="b"/>
              <a:pathLst>
                <a:path w="51323" h="51323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DCD4539-FE2A-4741-BBEF-2BADE6F5B99D}"/>
                </a:ext>
              </a:extLst>
            </p:cNvPr>
            <p:cNvSpPr/>
            <p:nvPr/>
          </p:nvSpPr>
          <p:spPr>
            <a:xfrm rot="16200000">
              <a:off x="12026199" y="6563439"/>
              <a:ext cx="13277" cy="68070"/>
            </a:xfrm>
            <a:custGeom>
              <a:avLst/>
              <a:gdLst>
                <a:gd name="connsiteX0" fmla="*/ 13277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7 w 13277"/>
                <a:gd name="connsiteY3" fmla="*/ 0 h 68070"/>
                <a:gd name="connsiteX4" fmla="*/ 0 w 13277"/>
                <a:gd name="connsiteY4" fmla="*/ 17984 h 68070"/>
                <a:gd name="connsiteX5" fmla="*/ 13277 w 13277"/>
                <a:gd name="connsiteY5" fmla="*/ 17984 h 68070"/>
                <a:gd name="connsiteX6" fmla="*/ 13277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B79E5-53C4-46E5-AAF3-BCDBDA5A2D1D}"/>
                </a:ext>
              </a:extLst>
            </p:cNvPr>
            <p:cNvSpPr/>
            <p:nvPr/>
          </p:nvSpPr>
          <p:spPr>
            <a:xfrm rot="16200000">
              <a:off x="12018640" y="6529825"/>
              <a:ext cx="45208" cy="51256"/>
            </a:xfrm>
            <a:custGeom>
              <a:avLst/>
              <a:gdLst>
                <a:gd name="connsiteX0" fmla="*/ 40279 w 45208"/>
                <a:gd name="connsiteY0" fmla="*/ 4038 h 51256"/>
                <a:gd name="connsiteX1" fmla="*/ 45209 w 45208"/>
                <a:gd name="connsiteY1" fmla="*/ 17521 h 51256"/>
                <a:gd name="connsiteX2" fmla="*/ 45209 w 45208"/>
                <a:gd name="connsiteY2" fmla="*/ 51256 h 51256"/>
                <a:gd name="connsiteX3" fmla="*/ 31794 w 45208"/>
                <a:gd name="connsiteY3" fmla="*/ 51256 h 51256"/>
                <a:gd name="connsiteX4" fmla="*/ 31794 w 45208"/>
                <a:gd name="connsiteY4" fmla="*/ 20785 h 51256"/>
                <a:gd name="connsiteX5" fmla="*/ 30746 w 45208"/>
                <a:gd name="connsiteY5" fmla="*/ 14722 h 51256"/>
                <a:gd name="connsiteX6" fmla="*/ 23446 w 45208"/>
                <a:gd name="connsiteY6" fmla="*/ 10874 h 51256"/>
                <a:gd name="connsiteX7" fmla="*/ 14360 w 45208"/>
                <a:gd name="connsiteY7" fmla="*/ 16525 h 51256"/>
                <a:gd name="connsiteX8" fmla="*/ 13089 w 45208"/>
                <a:gd name="connsiteY8" fmla="*/ 24152 h 51256"/>
                <a:gd name="connsiteX9" fmla="*/ 13089 w 45208"/>
                <a:gd name="connsiteY9" fmla="*/ 51256 h 51256"/>
                <a:gd name="connsiteX10" fmla="*/ 0 w 45208"/>
                <a:gd name="connsiteY10" fmla="*/ 51256 h 51256"/>
                <a:gd name="connsiteX11" fmla="*/ 0 w 45208"/>
                <a:gd name="connsiteY11" fmla="*/ 1272 h 51256"/>
                <a:gd name="connsiteX12" fmla="*/ 12676 w 45208"/>
                <a:gd name="connsiteY12" fmla="*/ 1272 h 51256"/>
                <a:gd name="connsiteX13" fmla="*/ 12676 w 45208"/>
                <a:gd name="connsiteY13" fmla="*/ 8607 h 51256"/>
                <a:gd name="connsiteX14" fmla="*/ 17434 w 45208"/>
                <a:gd name="connsiteY14" fmla="*/ 3042 h 51256"/>
                <a:gd name="connsiteX15" fmla="*/ 27637 w 45208"/>
                <a:gd name="connsiteY15" fmla="*/ 19 h 51256"/>
                <a:gd name="connsiteX16" fmla="*/ 40279 w 45208"/>
                <a:gd name="connsiteY16" fmla="*/ 4038 h 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6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09CEBDE-5D0C-41B5-85C2-CBC9DA810EFB}"/>
                </a:ext>
              </a:extLst>
            </p:cNvPr>
            <p:cNvSpPr/>
            <p:nvPr/>
          </p:nvSpPr>
          <p:spPr>
            <a:xfrm rot="16200000">
              <a:off x="12018195" y="6477145"/>
              <a:ext cx="28942" cy="68414"/>
            </a:xfrm>
            <a:custGeom>
              <a:avLst/>
              <a:gdLst>
                <a:gd name="connsiteX0" fmla="*/ 25868 w 28942"/>
                <a:gd name="connsiteY0" fmla="*/ 0 h 68414"/>
                <a:gd name="connsiteX1" fmla="*/ 28616 w 28942"/>
                <a:gd name="connsiteY1" fmla="*/ 206 h 68414"/>
                <a:gd name="connsiteX2" fmla="*/ 28616 w 28942"/>
                <a:gd name="connsiteY2" fmla="*/ 10941 h 68414"/>
                <a:gd name="connsiteX3" fmla="*/ 24923 w 28942"/>
                <a:gd name="connsiteY3" fmla="*/ 10735 h 68414"/>
                <a:gd name="connsiteX4" fmla="*/ 21333 w 28942"/>
                <a:gd name="connsiteY4" fmla="*/ 11869 h 68414"/>
                <a:gd name="connsiteX5" fmla="*/ 20354 w 28942"/>
                <a:gd name="connsiteY5" fmla="*/ 14566 h 68414"/>
                <a:gd name="connsiteX6" fmla="*/ 20354 w 28942"/>
                <a:gd name="connsiteY6" fmla="*/ 18791 h 68414"/>
                <a:gd name="connsiteX7" fmla="*/ 28943 w 28942"/>
                <a:gd name="connsiteY7" fmla="*/ 18791 h 68414"/>
                <a:gd name="connsiteX8" fmla="*/ 28943 w 28942"/>
                <a:gd name="connsiteY8" fmla="*/ 28032 h 68414"/>
                <a:gd name="connsiteX9" fmla="*/ 20354 w 28942"/>
                <a:gd name="connsiteY9" fmla="*/ 28032 h 68414"/>
                <a:gd name="connsiteX10" fmla="*/ 20354 w 28942"/>
                <a:gd name="connsiteY10" fmla="*/ 68414 h 68414"/>
                <a:gd name="connsiteX11" fmla="*/ 7352 w 28942"/>
                <a:gd name="connsiteY11" fmla="*/ 68414 h 68414"/>
                <a:gd name="connsiteX12" fmla="*/ 7352 w 28942"/>
                <a:gd name="connsiteY12" fmla="*/ 28032 h 68414"/>
                <a:gd name="connsiteX13" fmla="*/ 0 w 28942"/>
                <a:gd name="connsiteY13" fmla="*/ 28032 h 68414"/>
                <a:gd name="connsiteX14" fmla="*/ 0 w 28942"/>
                <a:gd name="connsiteY14" fmla="*/ 18791 h 68414"/>
                <a:gd name="connsiteX15" fmla="*/ 7163 w 28942"/>
                <a:gd name="connsiteY15" fmla="*/ 18791 h 68414"/>
                <a:gd name="connsiteX16" fmla="*/ 7163 w 28942"/>
                <a:gd name="connsiteY16" fmla="*/ 15579 h 68414"/>
                <a:gd name="connsiteX17" fmla="*/ 9877 w 28942"/>
                <a:gd name="connsiteY17" fmla="*/ 4500 h 68414"/>
                <a:gd name="connsiteX18" fmla="*/ 23618 w 28942"/>
                <a:gd name="connsiteY18" fmla="*/ 0 h 68414"/>
                <a:gd name="connsiteX19" fmla="*/ 25868 w 28942"/>
                <a:gd name="connsiteY19" fmla="*/ 0 h 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2" h="68414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887E364-69C8-42A1-811A-4726514CBCE3}"/>
                </a:ext>
              </a:extLst>
            </p:cNvPr>
            <p:cNvSpPr/>
            <p:nvPr/>
          </p:nvSpPr>
          <p:spPr>
            <a:xfrm rot="16200000">
              <a:off x="12016830" y="6161182"/>
              <a:ext cx="49036" cy="51048"/>
            </a:xfrm>
            <a:custGeom>
              <a:avLst/>
              <a:gdLst>
                <a:gd name="connsiteX0" fmla="*/ 42949 w 49036"/>
                <a:gd name="connsiteY0" fmla="*/ 43542 h 51048"/>
                <a:gd name="connsiteX1" fmla="*/ 24519 w 49036"/>
                <a:gd name="connsiteY1" fmla="*/ 51049 h 51048"/>
                <a:gd name="connsiteX2" fmla="*/ 6071 w 49036"/>
                <a:gd name="connsiteY2" fmla="*/ 43542 h 51048"/>
                <a:gd name="connsiteX3" fmla="*/ 8 w 49036"/>
                <a:gd name="connsiteY3" fmla="*/ 25576 h 51048"/>
                <a:gd name="connsiteX4" fmla="*/ 6071 w 49036"/>
                <a:gd name="connsiteY4" fmla="*/ 7592 h 51048"/>
                <a:gd name="connsiteX5" fmla="*/ 24519 w 49036"/>
                <a:gd name="connsiteY5" fmla="*/ 0 h 51048"/>
                <a:gd name="connsiteX6" fmla="*/ 42949 w 49036"/>
                <a:gd name="connsiteY6" fmla="*/ 7592 h 51048"/>
                <a:gd name="connsiteX7" fmla="*/ 49030 w 49036"/>
                <a:gd name="connsiteY7" fmla="*/ 25576 h 51048"/>
                <a:gd name="connsiteX8" fmla="*/ 42949 w 49036"/>
                <a:gd name="connsiteY8" fmla="*/ 43542 h 51048"/>
                <a:gd name="connsiteX9" fmla="*/ 32918 w 49036"/>
                <a:gd name="connsiteY9" fmla="*/ 36672 h 51048"/>
                <a:gd name="connsiteX10" fmla="*/ 35872 w 49036"/>
                <a:gd name="connsiteY10" fmla="*/ 25576 h 51048"/>
                <a:gd name="connsiteX11" fmla="*/ 32918 w 49036"/>
                <a:gd name="connsiteY11" fmla="*/ 14480 h 51048"/>
                <a:gd name="connsiteX12" fmla="*/ 17172 w 49036"/>
                <a:gd name="connsiteY12" fmla="*/ 13307 h 51048"/>
                <a:gd name="connsiteX13" fmla="*/ 15999 w 49036"/>
                <a:gd name="connsiteY13" fmla="*/ 14480 h 51048"/>
                <a:gd name="connsiteX14" fmla="*/ 13027 w 49036"/>
                <a:gd name="connsiteY14" fmla="*/ 25576 h 51048"/>
                <a:gd name="connsiteX15" fmla="*/ 15999 w 49036"/>
                <a:gd name="connsiteY15" fmla="*/ 36706 h 51048"/>
                <a:gd name="connsiteX16" fmla="*/ 31692 w 49036"/>
                <a:gd name="connsiteY16" fmla="*/ 37932 h 51048"/>
                <a:gd name="connsiteX17" fmla="*/ 32918 w 49036"/>
                <a:gd name="connsiteY17" fmla="*/ 36706 h 51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036" h="51048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8A0E0BB-B67F-4B6F-A66E-3D42CC14F9E7}"/>
                </a:ext>
              </a:extLst>
            </p:cNvPr>
            <p:cNvSpPr/>
            <p:nvPr/>
          </p:nvSpPr>
          <p:spPr>
            <a:xfrm rot="16200000">
              <a:off x="12005374" y="6370523"/>
              <a:ext cx="71791" cy="51205"/>
            </a:xfrm>
            <a:custGeom>
              <a:avLst/>
              <a:gdLst>
                <a:gd name="connsiteX0" fmla="*/ 62643 w 71791"/>
                <a:gd name="connsiteY0" fmla="*/ 1307 h 51205"/>
                <a:gd name="connsiteX1" fmla="*/ 68466 w 71791"/>
                <a:gd name="connsiteY1" fmla="*/ 5808 h 51205"/>
                <a:gd name="connsiteX2" fmla="*/ 71317 w 71791"/>
                <a:gd name="connsiteY2" fmla="*/ 12249 h 51205"/>
                <a:gd name="connsiteX3" fmla="*/ 71781 w 71791"/>
                <a:gd name="connsiteY3" fmla="*/ 19635 h 51205"/>
                <a:gd name="connsiteX4" fmla="*/ 71781 w 71791"/>
                <a:gd name="connsiteY4" fmla="*/ 51205 h 51205"/>
                <a:gd name="connsiteX5" fmla="*/ 58349 w 71791"/>
                <a:gd name="connsiteY5" fmla="*/ 51205 h 51205"/>
                <a:gd name="connsiteX6" fmla="*/ 58349 w 71791"/>
                <a:gd name="connsiteY6" fmla="*/ 19308 h 51205"/>
                <a:gd name="connsiteX7" fmla="*/ 57438 w 71791"/>
                <a:gd name="connsiteY7" fmla="*/ 14636 h 51205"/>
                <a:gd name="connsiteX8" fmla="*/ 50997 w 71791"/>
                <a:gd name="connsiteY8" fmla="*/ 11201 h 51205"/>
                <a:gd name="connsiteX9" fmla="*/ 43525 w 71791"/>
                <a:gd name="connsiteY9" fmla="*/ 15701 h 51205"/>
                <a:gd name="connsiteX10" fmla="*/ 42460 w 71791"/>
                <a:gd name="connsiteY10" fmla="*/ 21455 h 51205"/>
                <a:gd name="connsiteX11" fmla="*/ 42460 w 71791"/>
                <a:gd name="connsiteY11" fmla="*/ 51205 h 51205"/>
                <a:gd name="connsiteX12" fmla="*/ 29269 w 71791"/>
                <a:gd name="connsiteY12" fmla="*/ 51205 h 51205"/>
                <a:gd name="connsiteX13" fmla="*/ 29269 w 71791"/>
                <a:gd name="connsiteY13" fmla="*/ 21387 h 51205"/>
                <a:gd name="connsiteX14" fmla="*/ 28359 w 71791"/>
                <a:gd name="connsiteY14" fmla="*/ 14911 h 51205"/>
                <a:gd name="connsiteX15" fmla="*/ 21883 w 71791"/>
                <a:gd name="connsiteY15" fmla="*/ 11270 h 51205"/>
                <a:gd name="connsiteX16" fmla="*/ 14342 w 71791"/>
                <a:gd name="connsiteY16" fmla="*/ 14911 h 51205"/>
                <a:gd name="connsiteX17" fmla="*/ 13277 w 71791"/>
                <a:gd name="connsiteY17" fmla="*/ 21060 h 51205"/>
                <a:gd name="connsiteX18" fmla="*/ 13277 w 71791"/>
                <a:gd name="connsiteY18" fmla="*/ 51205 h 51205"/>
                <a:gd name="connsiteX19" fmla="*/ 0 w 71791"/>
                <a:gd name="connsiteY19" fmla="*/ 51205 h 51205"/>
                <a:gd name="connsiteX20" fmla="*/ 0 w 71791"/>
                <a:gd name="connsiteY20" fmla="*/ 1221 h 51205"/>
                <a:gd name="connsiteX21" fmla="*/ 12728 w 71791"/>
                <a:gd name="connsiteY21" fmla="*/ 1221 h 51205"/>
                <a:gd name="connsiteX22" fmla="*/ 12728 w 71791"/>
                <a:gd name="connsiteY22" fmla="*/ 8556 h 51205"/>
                <a:gd name="connsiteX23" fmla="*/ 17331 w 71791"/>
                <a:gd name="connsiteY23" fmla="*/ 2991 h 51205"/>
                <a:gd name="connsiteX24" fmla="*/ 36483 w 71791"/>
                <a:gd name="connsiteY24" fmla="*/ 2578 h 51205"/>
                <a:gd name="connsiteX25" fmla="*/ 40726 w 71791"/>
                <a:gd name="connsiteY25" fmla="*/ 8556 h 51205"/>
                <a:gd name="connsiteX26" fmla="*/ 47098 w 71791"/>
                <a:gd name="connsiteY26" fmla="*/ 2063 h 51205"/>
                <a:gd name="connsiteX27" fmla="*/ 56116 w 71791"/>
                <a:gd name="connsiteY27" fmla="*/ 2 h 51205"/>
                <a:gd name="connsiteX28" fmla="*/ 62643 w 71791"/>
                <a:gd name="connsiteY28" fmla="*/ 1307 h 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1791" h="51205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97C39D0-A99F-467C-9FAD-1FEC939449C9}"/>
                </a:ext>
              </a:extLst>
            </p:cNvPr>
            <p:cNvSpPr/>
            <p:nvPr/>
          </p:nvSpPr>
          <p:spPr>
            <a:xfrm rot="16200000">
              <a:off x="12026199" y="6307354"/>
              <a:ext cx="13277" cy="68070"/>
            </a:xfrm>
            <a:custGeom>
              <a:avLst/>
              <a:gdLst>
                <a:gd name="connsiteX0" fmla="*/ 13278 w 13277"/>
                <a:gd name="connsiteY0" fmla="*/ 12024 h 68070"/>
                <a:gd name="connsiteX1" fmla="*/ 0 w 13277"/>
                <a:gd name="connsiteY1" fmla="*/ 12024 h 68070"/>
                <a:gd name="connsiteX2" fmla="*/ 0 w 13277"/>
                <a:gd name="connsiteY2" fmla="*/ 0 h 68070"/>
                <a:gd name="connsiteX3" fmla="*/ 13278 w 13277"/>
                <a:gd name="connsiteY3" fmla="*/ 0 h 68070"/>
                <a:gd name="connsiteX4" fmla="*/ 0 w 13277"/>
                <a:gd name="connsiteY4" fmla="*/ 17984 h 68070"/>
                <a:gd name="connsiteX5" fmla="*/ 13278 w 13277"/>
                <a:gd name="connsiteY5" fmla="*/ 17984 h 68070"/>
                <a:gd name="connsiteX6" fmla="*/ 13278 w 13277"/>
                <a:gd name="connsiteY6" fmla="*/ 68070 h 68070"/>
                <a:gd name="connsiteX7" fmla="*/ 0 w 13277"/>
                <a:gd name="connsiteY7" fmla="*/ 68070 h 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77" h="6807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B512C9A-2B27-4460-B3C8-AA6460E8DA65}"/>
                </a:ext>
              </a:extLst>
            </p:cNvPr>
            <p:cNvSpPr/>
            <p:nvPr/>
          </p:nvSpPr>
          <p:spPr>
            <a:xfrm rot="16200000">
              <a:off x="12018641" y="6273739"/>
              <a:ext cx="45208" cy="51255"/>
            </a:xfrm>
            <a:custGeom>
              <a:avLst/>
              <a:gdLst>
                <a:gd name="connsiteX0" fmla="*/ 40296 w 45208"/>
                <a:gd name="connsiteY0" fmla="*/ 4038 h 51255"/>
                <a:gd name="connsiteX1" fmla="*/ 45209 w 45208"/>
                <a:gd name="connsiteY1" fmla="*/ 17521 h 51255"/>
                <a:gd name="connsiteX2" fmla="*/ 45209 w 45208"/>
                <a:gd name="connsiteY2" fmla="*/ 51256 h 51255"/>
                <a:gd name="connsiteX3" fmla="*/ 31794 w 45208"/>
                <a:gd name="connsiteY3" fmla="*/ 51256 h 51255"/>
                <a:gd name="connsiteX4" fmla="*/ 31794 w 45208"/>
                <a:gd name="connsiteY4" fmla="*/ 20785 h 51255"/>
                <a:gd name="connsiteX5" fmla="*/ 30746 w 45208"/>
                <a:gd name="connsiteY5" fmla="*/ 14722 h 51255"/>
                <a:gd name="connsiteX6" fmla="*/ 23446 w 45208"/>
                <a:gd name="connsiteY6" fmla="*/ 10874 h 51255"/>
                <a:gd name="connsiteX7" fmla="*/ 14377 w 45208"/>
                <a:gd name="connsiteY7" fmla="*/ 16525 h 51255"/>
                <a:gd name="connsiteX8" fmla="*/ 13089 w 45208"/>
                <a:gd name="connsiteY8" fmla="*/ 24151 h 51255"/>
                <a:gd name="connsiteX9" fmla="*/ 13089 w 45208"/>
                <a:gd name="connsiteY9" fmla="*/ 51256 h 51255"/>
                <a:gd name="connsiteX10" fmla="*/ 0 w 45208"/>
                <a:gd name="connsiteY10" fmla="*/ 51256 h 51255"/>
                <a:gd name="connsiteX11" fmla="*/ 0 w 45208"/>
                <a:gd name="connsiteY11" fmla="*/ 1272 h 51255"/>
                <a:gd name="connsiteX12" fmla="*/ 12676 w 45208"/>
                <a:gd name="connsiteY12" fmla="*/ 1272 h 51255"/>
                <a:gd name="connsiteX13" fmla="*/ 12676 w 45208"/>
                <a:gd name="connsiteY13" fmla="*/ 8607 h 51255"/>
                <a:gd name="connsiteX14" fmla="*/ 17434 w 45208"/>
                <a:gd name="connsiteY14" fmla="*/ 3042 h 51255"/>
                <a:gd name="connsiteX15" fmla="*/ 27637 w 45208"/>
                <a:gd name="connsiteY15" fmla="*/ 18 h 51255"/>
                <a:gd name="connsiteX16" fmla="*/ 40296 w 45208"/>
                <a:gd name="connsiteY16" fmla="*/ 4038 h 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208" h="51255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A1FA1F5-B76B-4B98-99DC-DD1D17B7F23E}"/>
                </a:ext>
              </a:extLst>
            </p:cNvPr>
            <p:cNvSpPr/>
            <p:nvPr/>
          </p:nvSpPr>
          <p:spPr>
            <a:xfrm rot="16200000">
              <a:off x="12017163" y="6218687"/>
              <a:ext cx="48082" cy="51510"/>
            </a:xfrm>
            <a:custGeom>
              <a:avLst/>
              <a:gdLst>
                <a:gd name="connsiteX0" fmla="*/ 35384 w 48082"/>
                <a:gd name="connsiteY0" fmla="*/ 2281 h 51510"/>
                <a:gd name="connsiteX1" fmla="*/ 43766 w 48082"/>
                <a:gd name="connsiteY1" fmla="*/ 9444 h 51510"/>
                <a:gd name="connsiteX2" fmla="*/ 47631 w 48082"/>
                <a:gd name="connsiteY2" fmla="*/ 19475 h 51510"/>
                <a:gd name="connsiteX3" fmla="*/ 48043 w 48082"/>
                <a:gd name="connsiteY3" fmla="*/ 29094 h 51510"/>
                <a:gd name="connsiteX4" fmla="*/ 12711 w 48082"/>
                <a:gd name="connsiteY4" fmla="*/ 29094 h 51510"/>
                <a:gd name="connsiteX5" fmla="*/ 17778 w 48082"/>
                <a:gd name="connsiteY5" fmla="*/ 39400 h 51510"/>
                <a:gd name="connsiteX6" fmla="*/ 24769 w 48082"/>
                <a:gd name="connsiteY6" fmla="*/ 41237 h 51510"/>
                <a:gd name="connsiteX7" fmla="*/ 31811 w 48082"/>
                <a:gd name="connsiteY7" fmla="*/ 39004 h 51510"/>
                <a:gd name="connsiteX8" fmla="*/ 34405 w 48082"/>
                <a:gd name="connsiteY8" fmla="*/ 35672 h 51510"/>
                <a:gd name="connsiteX9" fmla="*/ 47407 w 48082"/>
                <a:gd name="connsiteY9" fmla="*/ 35672 h 51510"/>
                <a:gd name="connsiteX10" fmla="*/ 42701 w 48082"/>
                <a:gd name="connsiteY10" fmla="*/ 44432 h 51510"/>
                <a:gd name="connsiteX11" fmla="*/ 24459 w 48082"/>
                <a:gd name="connsiteY11" fmla="*/ 51509 h 51510"/>
                <a:gd name="connsiteX12" fmla="*/ 7386 w 48082"/>
                <a:gd name="connsiteY12" fmla="*/ 45549 h 51510"/>
                <a:gd name="connsiteX13" fmla="*/ 0 w 48082"/>
                <a:gd name="connsiteY13" fmla="*/ 26139 h 51510"/>
                <a:gd name="connsiteX14" fmla="*/ 6682 w 48082"/>
                <a:gd name="connsiteY14" fmla="*/ 6816 h 51510"/>
                <a:gd name="connsiteX15" fmla="*/ 23961 w 48082"/>
                <a:gd name="connsiteY15" fmla="*/ 14 h 51510"/>
                <a:gd name="connsiteX16" fmla="*/ 35384 w 48082"/>
                <a:gd name="connsiteY16" fmla="*/ 2281 h 51510"/>
                <a:gd name="connsiteX17" fmla="*/ 16490 w 48082"/>
                <a:gd name="connsiteY17" fmla="*/ 13223 h 51510"/>
                <a:gd name="connsiteX18" fmla="*/ 13054 w 48082"/>
                <a:gd name="connsiteY18" fmla="*/ 20797 h 51510"/>
                <a:gd name="connsiteX19" fmla="*/ 34886 w 48082"/>
                <a:gd name="connsiteY19" fmla="*/ 20797 h 51510"/>
                <a:gd name="connsiteX20" fmla="*/ 31450 w 48082"/>
                <a:gd name="connsiteY20" fmla="*/ 13137 h 51510"/>
                <a:gd name="connsiteX21" fmla="*/ 23961 w 48082"/>
                <a:gd name="connsiteY21" fmla="*/ 10491 h 51510"/>
                <a:gd name="connsiteX22" fmla="*/ 16490 w 48082"/>
                <a:gd name="connsiteY22" fmla="*/ 13223 h 5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8082" h="5151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grpFill/>
            <a:ln w="17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54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Copyright">
            <a:extLst>
              <a:ext uri="{FF2B5EF4-FFF2-40B4-BE49-F238E27FC236}">
                <a16:creationId xmlns:a16="http://schemas.microsoft.com/office/drawing/2014/main" id="{EB60B0AE-F9C0-4FBF-9FE6-F8CE2ED57C40}"/>
              </a:ext>
            </a:extLst>
          </p:cNvPr>
          <p:cNvSpPr txBox="1"/>
          <p:nvPr userDrawn="1"/>
        </p:nvSpPr>
        <p:spPr>
          <a:xfrm rot="16200000">
            <a:off x="12396100" y="5831937"/>
            <a:ext cx="1740861" cy="12214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kumimoji="0" sz="10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</a:defRPr>
            </a:lvl1pPr>
          </a:lstStyle>
          <a:p>
            <a:pPr lvl="0" algn="l"/>
            <a:r>
              <a:rPr lang="en-US" sz="882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. All rights reserved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099" y="7127143"/>
            <a:ext cx="166103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33391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38369F-F8B4-42F9-9E33-ED43D3902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573848"/>
              </p:ext>
            </p:extLst>
          </p:nvPr>
        </p:nvGraphicFramePr>
        <p:xfrm>
          <a:off x="2335" y="1751"/>
          <a:ext cx="233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38369F-F8B4-42F9-9E33-ED43D3902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35" y="1751"/>
                        <a:ext cx="2334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6F88BD-D39D-4B55-A16B-68F5F7E3D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614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E076F7-2F5B-46F9-A7D4-BCD4A1BF4F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439775" cy="755967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5571307-B5A1-49FA-8B2A-10157FD7593A}"/>
              </a:ext>
            </a:extLst>
          </p:cNvPr>
          <p:cNvSpPr/>
          <p:nvPr userDrawn="1"/>
        </p:nvSpPr>
        <p:spPr>
          <a:xfrm>
            <a:off x="0" y="0"/>
            <a:ext cx="13439775" cy="7559675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55000">
                <a:schemeClr val="tx2">
                  <a:lumMod val="75000"/>
                  <a:alpha val="90000"/>
                </a:schemeClr>
              </a:gs>
              <a:gs pos="85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10CA7A-4558-C443-9C75-2C8E863B7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955" y="4438908"/>
            <a:ext cx="7480282" cy="1730259"/>
          </a:xfrm>
          <a:effectLst>
            <a:outerShdw blurRad="1905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80000"/>
              </a:lnSpc>
              <a:defRPr lang="en-US" sz="6614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B037CC6-E5CE-4CBE-B183-A4AF78E15E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6099" y="7127143"/>
            <a:ext cx="166103" cy="1526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8F8D7F04-0843-CE4E-9080-A55527BC6FD9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1B01B0-505C-4864-BC9B-FBCE18D02D9C}"/>
              </a:ext>
            </a:extLst>
          </p:cNvPr>
          <p:cNvCxnSpPr>
            <a:cxnSpLocks/>
          </p:cNvCxnSpPr>
          <p:nvPr userDrawn="1"/>
        </p:nvCxnSpPr>
        <p:spPr>
          <a:xfrm>
            <a:off x="1093954" y="6296757"/>
            <a:ext cx="170032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5DDDC21-5EC0-4BC6-A759-2D861F3A42C0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0"/>
            <a:chOff x="11979436" y="4529724"/>
            <a:chExt cx="110809" cy="204771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CE34071-C191-4EA0-879B-938D0D7FB2DC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86C589D3-2A68-47B4-A186-DCD2A83FCFC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BB41610-46EC-428B-835A-19794F87B288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35B418E-1CF7-49D6-9410-F4E0F9CA8FDC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5874F1C-8BBD-43D9-9576-2326771CDA5E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41BF7ED0-D40C-414C-A361-03E0EC0CA1B8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0A1FE6F-2C49-4E56-BBB6-F7F2308FE7A5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FE97711-BCB1-4A87-B444-FE49A24C954C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DC90751F-BC28-4C38-9AEE-4FE522001DE3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759EB0F-4722-48F9-98B5-35600B2F5F54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E9ED425-DEE8-4FE5-B40D-E5D7FC3B173C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6FED47B5-7813-41FF-82AD-062C1EBA79EB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412D8B3-B39C-4308-9921-278312CC9BDA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79E12B4-9493-4742-A8EB-9E495955EF01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4" name="Copyright">
              <a:extLst>
                <a:ext uri="{FF2B5EF4-FFF2-40B4-BE49-F238E27FC236}">
                  <a16:creationId xmlns:a16="http://schemas.microsoft.com/office/drawing/2014/main" id="{063EE5AF-0F23-4E4D-946B-2EF723C73A98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888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12A5D0A-48AF-9842-B1AC-D745108EB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07301"/>
              </p:ext>
            </p:extLst>
          </p:nvPr>
        </p:nvGraphicFramePr>
        <p:xfrm>
          <a:off x="1751" y="1751"/>
          <a:ext cx="1749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12A5D0A-48AF-9842-B1AC-D745108EB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49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470352E-C508-1946-A92F-A16134DF1D26}"/>
              </a:ext>
            </a:extLst>
          </p:cNvPr>
          <p:cNvSpPr/>
          <p:nvPr userDrawn="1"/>
        </p:nvSpPr>
        <p:spPr>
          <a:xfrm>
            <a:off x="0" y="0"/>
            <a:ext cx="13439775" cy="7559675"/>
          </a:xfrm>
          <a:prstGeom prst="rect">
            <a:avLst/>
          </a:prstGeom>
          <a:gradFill flip="none" rotWithShape="1">
            <a:gsLst>
              <a:gs pos="16000">
                <a:schemeClr val="tx2">
                  <a:lumMod val="50000"/>
                </a:schemeClr>
              </a:gs>
              <a:gs pos="45000">
                <a:schemeClr val="tx2">
                  <a:lumMod val="75000"/>
                  <a:alpha val="90000"/>
                </a:schemeClr>
              </a:gs>
              <a:gs pos="79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E76732-5A5F-B03D-320E-52CD6F1CBC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36810" y="2857381"/>
            <a:ext cx="4835487" cy="18080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106A152-DC8B-0C47-8CFD-D99759D28F81}"/>
              </a:ext>
            </a:extLst>
          </p:cNvPr>
          <p:cNvSpPr txBox="1"/>
          <p:nvPr userDrawn="1"/>
        </p:nvSpPr>
        <p:spPr>
          <a:xfrm>
            <a:off x="607240" y="6575816"/>
            <a:ext cx="3358292" cy="40716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323" b="1" i="0" u="none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www.infomineo.com</a:t>
            </a:r>
          </a:p>
          <a:p>
            <a:pPr algn="l"/>
            <a:r>
              <a:rPr lang="en-GB" sz="1323" b="0" i="0" dirty="0">
                <a:solidFill>
                  <a:schemeClr val="bg1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  <a:sym typeface="Calibri" panose="020F0502020204030204" pitchFamily="34" charset="0"/>
              </a:rPr>
              <a:t>Infomineo Copyright © 2023. All rights reserved.</a:t>
            </a:r>
          </a:p>
        </p:txBody>
      </p:sp>
      <p:pic>
        <p:nvPicPr>
          <p:cNvPr id="30" name="Picture 29">
            <a:hlinkClick r:id="rId7"/>
            <a:extLst>
              <a:ext uri="{FF2B5EF4-FFF2-40B4-BE49-F238E27FC236}">
                <a16:creationId xmlns:a16="http://schemas.microsoft.com/office/drawing/2014/main" id="{3ED467EF-C028-4376-B7C8-A8830D77CF7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2201" y="6575816"/>
            <a:ext cx="408233" cy="408222"/>
          </a:xfrm>
          <a:prstGeom prst="rect">
            <a:avLst/>
          </a:prstGeom>
        </p:spPr>
      </p:pic>
      <p:pic>
        <p:nvPicPr>
          <p:cNvPr id="32" name="Picture 31">
            <a:hlinkClick r:id="rId9"/>
            <a:extLst>
              <a:ext uri="{FF2B5EF4-FFF2-40B4-BE49-F238E27FC236}">
                <a16:creationId xmlns:a16="http://schemas.microsoft.com/office/drawing/2014/main" id="{3BF2889F-2FC0-49EE-9DAD-8868FC3BE52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934" y="6575816"/>
            <a:ext cx="406553" cy="408222"/>
          </a:xfrm>
          <a:prstGeom prst="rect">
            <a:avLst/>
          </a:prstGeom>
        </p:spPr>
      </p:pic>
      <p:pic>
        <p:nvPicPr>
          <p:cNvPr id="34" name="Picture 33">
            <a:hlinkClick r:id="rId11"/>
            <a:extLst>
              <a:ext uri="{FF2B5EF4-FFF2-40B4-BE49-F238E27FC236}">
                <a16:creationId xmlns:a16="http://schemas.microsoft.com/office/drawing/2014/main" id="{96507CF0-D683-43B8-9352-634205E2EC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5667" y="6575816"/>
            <a:ext cx="406553" cy="40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6983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C7E8C095-69F2-4BC8-964E-A1BFE9309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833942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C7E8C095-69F2-4BC8-964E-A1BFE9309E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B5F11C0-1445-4182-AF87-C63E0DB6C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7" name="Freeform: Shape 95">
            <a:extLst>
              <a:ext uri="{FF2B5EF4-FFF2-40B4-BE49-F238E27FC236}">
                <a16:creationId xmlns:a16="http://schemas.microsoft.com/office/drawing/2014/main" id="{E5A08834-247C-4C9E-93E7-8514C051C060}"/>
              </a:ext>
            </a:extLst>
          </p:cNvPr>
          <p:cNvSpPr/>
          <p:nvPr userDrawn="1"/>
        </p:nvSpPr>
        <p:spPr>
          <a:xfrm>
            <a:off x="0" y="0"/>
            <a:ext cx="13441098" cy="7559675"/>
          </a:xfrm>
          <a:custGeom>
            <a:avLst/>
            <a:gdLst>
              <a:gd name="connsiteX0" fmla="*/ 566584 w 12193200"/>
              <a:gd name="connsiteY0" fmla="*/ 549276 h 6858000"/>
              <a:gd name="connsiteX1" fmla="*/ 566584 w 12193200"/>
              <a:gd name="connsiteY1" fmla="*/ 6308726 h 6858000"/>
              <a:gd name="connsiteX2" fmla="*/ 11641138 w 12193200"/>
              <a:gd name="connsiteY2" fmla="*/ 6308726 h 6858000"/>
              <a:gd name="connsiteX3" fmla="*/ 11641138 w 12193200"/>
              <a:gd name="connsiteY3" fmla="*/ 549276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543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59B0D14-7DD8-45E2-B968-99300FF0D28D}"/>
              </a:ext>
            </a:extLst>
          </p:cNvPr>
          <p:cNvGrpSpPr/>
          <p:nvPr userDrawn="1"/>
        </p:nvGrpSpPr>
        <p:grpSpPr>
          <a:xfrm>
            <a:off x="-662" y="605474"/>
            <a:ext cx="13441098" cy="6348727"/>
            <a:chOff x="-600" y="549275"/>
            <a:chExt cx="12193200" cy="575945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D9771C-C32F-443B-97DA-AB808B787FCB}"/>
                </a:ext>
              </a:extLst>
            </p:cNvPr>
            <p:cNvCxnSpPr/>
            <p:nvPr/>
          </p:nvCxnSpPr>
          <p:spPr>
            <a:xfrm>
              <a:off x="-600" y="54927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ACFDCFA-8871-4375-9DD7-4FC5886280A9}"/>
                </a:ext>
              </a:extLst>
            </p:cNvPr>
            <p:cNvCxnSpPr/>
            <p:nvPr/>
          </p:nvCxnSpPr>
          <p:spPr>
            <a:xfrm>
              <a:off x="-600" y="107286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CC4B7F-FEF1-4EA1-831D-C9AA6F5F064E}"/>
                </a:ext>
              </a:extLst>
            </p:cNvPr>
            <p:cNvCxnSpPr/>
            <p:nvPr/>
          </p:nvCxnSpPr>
          <p:spPr>
            <a:xfrm>
              <a:off x="-600" y="133465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1DCA16-8F73-4630-BDD0-2A70C4A58AB4}"/>
                </a:ext>
              </a:extLst>
            </p:cNvPr>
            <p:cNvCxnSpPr/>
            <p:nvPr/>
          </p:nvCxnSpPr>
          <p:spPr>
            <a:xfrm>
              <a:off x="-600" y="159644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BC31EB1-B3A4-46CF-BFA4-063B67EE1C0D}"/>
                </a:ext>
              </a:extLst>
            </p:cNvPr>
            <p:cNvCxnSpPr/>
            <p:nvPr/>
          </p:nvCxnSpPr>
          <p:spPr>
            <a:xfrm>
              <a:off x="-600" y="185824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93E6A85-DDE0-4463-B476-9FA784357023}"/>
                </a:ext>
              </a:extLst>
            </p:cNvPr>
            <p:cNvCxnSpPr/>
            <p:nvPr/>
          </p:nvCxnSpPr>
          <p:spPr>
            <a:xfrm>
              <a:off x="-600" y="212003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A4D7F3C-5BD5-4AC2-88A1-966E801F5AED}"/>
                </a:ext>
              </a:extLst>
            </p:cNvPr>
            <p:cNvCxnSpPr/>
            <p:nvPr/>
          </p:nvCxnSpPr>
          <p:spPr>
            <a:xfrm>
              <a:off x="-600" y="238182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2775BB7-F520-4F81-AF6D-F59D1B76F55E}"/>
                </a:ext>
              </a:extLst>
            </p:cNvPr>
            <p:cNvCxnSpPr/>
            <p:nvPr/>
          </p:nvCxnSpPr>
          <p:spPr>
            <a:xfrm>
              <a:off x="-600" y="264361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CB72474-2AC2-420E-BDB5-E5A722B50684}"/>
                </a:ext>
              </a:extLst>
            </p:cNvPr>
            <p:cNvCxnSpPr/>
            <p:nvPr/>
          </p:nvCxnSpPr>
          <p:spPr>
            <a:xfrm>
              <a:off x="-600" y="290541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F88338-30AC-49A0-A5C4-EC7BD34E1FA6}"/>
                </a:ext>
              </a:extLst>
            </p:cNvPr>
            <p:cNvCxnSpPr/>
            <p:nvPr/>
          </p:nvCxnSpPr>
          <p:spPr>
            <a:xfrm>
              <a:off x="-600" y="316720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A4A82DD-B8CC-462B-93E9-CBC87352521F}"/>
                </a:ext>
              </a:extLst>
            </p:cNvPr>
            <p:cNvCxnSpPr/>
            <p:nvPr/>
          </p:nvCxnSpPr>
          <p:spPr>
            <a:xfrm>
              <a:off x="-600" y="342899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086DFAD-90A1-4761-A1F6-2CECC9F3CEB8}"/>
                </a:ext>
              </a:extLst>
            </p:cNvPr>
            <p:cNvCxnSpPr/>
            <p:nvPr/>
          </p:nvCxnSpPr>
          <p:spPr>
            <a:xfrm>
              <a:off x="-600" y="3690791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73AC16-3E18-48F7-97ED-8B5A48560A3B}"/>
                </a:ext>
              </a:extLst>
            </p:cNvPr>
            <p:cNvCxnSpPr/>
            <p:nvPr/>
          </p:nvCxnSpPr>
          <p:spPr>
            <a:xfrm>
              <a:off x="-600" y="3952584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2B4CC9-D426-40F8-825B-C7E1196189B4}"/>
                </a:ext>
              </a:extLst>
            </p:cNvPr>
            <p:cNvCxnSpPr/>
            <p:nvPr/>
          </p:nvCxnSpPr>
          <p:spPr>
            <a:xfrm>
              <a:off x="-600" y="4214377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9DD5A36E-8435-4B1C-8462-1C956794FC17}"/>
                </a:ext>
              </a:extLst>
            </p:cNvPr>
            <p:cNvCxnSpPr/>
            <p:nvPr/>
          </p:nvCxnSpPr>
          <p:spPr>
            <a:xfrm>
              <a:off x="-600" y="4476170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D85A532-653B-4FD3-A2B9-908071F117D2}"/>
                </a:ext>
              </a:extLst>
            </p:cNvPr>
            <p:cNvCxnSpPr/>
            <p:nvPr/>
          </p:nvCxnSpPr>
          <p:spPr>
            <a:xfrm>
              <a:off x="-600" y="4737963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CDE1136A-6637-439F-89A7-D7F878D15199}"/>
                </a:ext>
              </a:extLst>
            </p:cNvPr>
            <p:cNvCxnSpPr/>
            <p:nvPr/>
          </p:nvCxnSpPr>
          <p:spPr>
            <a:xfrm>
              <a:off x="-600" y="4999756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0A4627-9F33-480E-B584-D2625F29AB95}"/>
                </a:ext>
              </a:extLst>
            </p:cNvPr>
            <p:cNvCxnSpPr/>
            <p:nvPr/>
          </p:nvCxnSpPr>
          <p:spPr>
            <a:xfrm>
              <a:off x="-600" y="5261549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9037A92-0EC2-4FBA-A847-8D0F6C45AD99}"/>
                </a:ext>
              </a:extLst>
            </p:cNvPr>
            <p:cNvCxnSpPr/>
            <p:nvPr/>
          </p:nvCxnSpPr>
          <p:spPr>
            <a:xfrm>
              <a:off x="-600" y="5523342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6B45D501-68B8-4FBE-8794-3CDE530B5439}"/>
                </a:ext>
              </a:extLst>
            </p:cNvPr>
            <p:cNvCxnSpPr/>
            <p:nvPr userDrawn="1"/>
          </p:nvCxnSpPr>
          <p:spPr>
            <a:xfrm>
              <a:off x="-600" y="578513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63DF98-DC31-4B0A-9A94-9B9C493BD0DD}"/>
                </a:ext>
              </a:extLst>
            </p:cNvPr>
            <p:cNvCxnSpPr/>
            <p:nvPr userDrawn="1"/>
          </p:nvCxnSpPr>
          <p:spPr>
            <a:xfrm>
              <a:off x="-600" y="81106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D97F595-E8CD-4823-A296-F9B434149D35}"/>
                </a:ext>
              </a:extLst>
            </p:cNvPr>
            <p:cNvCxnSpPr/>
            <p:nvPr userDrawn="1"/>
          </p:nvCxnSpPr>
          <p:spPr>
            <a:xfrm>
              <a:off x="-600" y="6308725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767E29-78AA-446B-8F14-50FFE81A75D5}"/>
                </a:ext>
              </a:extLst>
            </p:cNvPr>
            <p:cNvCxnSpPr/>
            <p:nvPr userDrawn="1"/>
          </p:nvCxnSpPr>
          <p:spPr>
            <a:xfrm>
              <a:off x="-600" y="6046928"/>
              <a:ext cx="12193200" cy="0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note measure">
            <a:extLst>
              <a:ext uri="{FF2B5EF4-FFF2-40B4-BE49-F238E27FC236}">
                <a16:creationId xmlns:a16="http://schemas.microsoft.com/office/drawing/2014/main" id="{FCB67C59-94A5-43D0-98F3-D2DF706BE6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6579" y="6954197"/>
            <a:ext cx="12225955" cy="288585"/>
          </a:xfrm>
          <a:prstGeom prst="rect">
            <a:avLst/>
          </a:prstGeom>
          <a:solidFill>
            <a:srgbClr val="FF0000">
              <a:alpha val="1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543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Whitespace measure">
            <a:extLst>
              <a:ext uri="{FF2B5EF4-FFF2-40B4-BE49-F238E27FC236}">
                <a16:creationId xmlns:a16="http://schemas.microsoft.com/office/drawing/2014/main" id="{B9FA0CC8-4D85-4377-9762-D979C28385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7242" y="1486164"/>
            <a:ext cx="12242140" cy="561301"/>
          </a:xfrm>
          <a:prstGeom prst="rect">
            <a:avLst/>
          </a:prstGeom>
          <a:solidFill>
            <a:srgbClr val="FF0000">
              <a:alpha val="5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00796" tIns="50398" rIns="100796" bIns="50398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543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Live area">
            <a:extLst>
              <a:ext uri="{FF2B5EF4-FFF2-40B4-BE49-F238E27FC236}">
                <a16:creationId xmlns:a16="http://schemas.microsoft.com/office/drawing/2014/main" id="{AA787823-C275-4031-9AC7-3513520EE759}"/>
              </a:ext>
            </a:extLst>
          </p:cNvPr>
          <p:cNvSpPr/>
          <p:nvPr userDrawn="1"/>
        </p:nvSpPr>
        <p:spPr>
          <a:xfrm>
            <a:off x="607241" y="2336944"/>
            <a:ext cx="12225295" cy="4617257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chemeClr val="tx2">
                <a:alpha val="3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2"/>
              </a:spcAft>
            </a:pPr>
            <a:endParaRPr lang="en-US" sz="1323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1AA03C-D537-4B50-8AA2-DE2B0859A9E0}"/>
              </a:ext>
            </a:extLst>
          </p:cNvPr>
          <p:cNvGrpSpPr/>
          <p:nvPr userDrawn="1"/>
        </p:nvGrpSpPr>
        <p:grpSpPr>
          <a:xfrm>
            <a:off x="1339721" y="2047465"/>
            <a:ext cx="10762182" cy="4914220"/>
            <a:chOff x="1215339" y="549274"/>
            <a:chExt cx="9763000" cy="5759450"/>
          </a:xfrm>
          <a:solidFill>
            <a:schemeClr val="tx2">
              <a:lumMod val="40000"/>
              <a:lumOff val="60000"/>
              <a:alpha val="10000"/>
            </a:schemeClr>
          </a:solidFill>
        </p:grpSpPr>
        <p:sp>
          <p:nvSpPr>
            <p:cNvPr id="13" name="Rectangle 34">
              <a:extLst>
                <a:ext uri="{FF2B5EF4-FFF2-40B4-BE49-F238E27FC236}">
                  <a16:creationId xmlns:a16="http://schemas.microsoft.com/office/drawing/2014/main" id="{CEBF00D2-4B24-426D-BD4A-087B43FE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Rectangle 35">
              <a:extLst>
                <a:ext uri="{FF2B5EF4-FFF2-40B4-BE49-F238E27FC236}">
                  <a16:creationId xmlns:a16="http://schemas.microsoft.com/office/drawing/2014/main" id="{6BD82B4A-4BB0-4614-B13C-4CFCC7A2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Rectangle 36">
              <a:extLst>
                <a:ext uri="{FF2B5EF4-FFF2-40B4-BE49-F238E27FC236}">
                  <a16:creationId xmlns:a16="http://schemas.microsoft.com/office/drawing/2014/main" id="{BF9ACD5F-BA8A-4218-BB75-6E90A13EF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Rectangle 37">
              <a:extLst>
                <a:ext uri="{FF2B5EF4-FFF2-40B4-BE49-F238E27FC236}">
                  <a16:creationId xmlns:a16="http://schemas.microsoft.com/office/drawing/2014/main" id="{379A22D2-DA96-41ED-9D9E-1155426DF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" name="Rectangle 38">
              <a:extLst>
                <a:ext uri="{FF2B5EF4-FFF2-40B4-BE49-F238E27FC236}">
                  <a16:creationId xmlns:a16="http://schemas.microsoft.com/office/drawing/2014/main" id="{7EF7963D-A1E1-415D-8969-F027A75D1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8" name="Rectangle 39">
              <a:extLst>
                <a:ext uri="{FF2B5EF4-FFF2-40B4-BE49-F238E27FC236}">
                  <a16:creationId xmlns:a16="http://schemas.microsoft.com/office/drawing/2014/main" id="{BBE34D05-AF10-4FE9-A201-F9E2A802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839" y="549274"/>
              <a:ext cx="288000" cy="5759450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40">
              <a:extLst>
                <a:ext uri="{FF2B5EF4-FFF2-40B4-BE49-F238E27FC236}">
                  <a16:creationId xmlns:a16="http://schemas.microsoft.com/office/drawing/2014/main" id="{349BF860-A8A0-4AB9-B299-1AF824195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3E2A80A6-61F6-4E58-B43B-059CCD29C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" name="Rectangle 42">
              <a:extLst>
                <a:ext uri="{FF2B5EF4-FFF2-40B4-BE49-F238E27FC236}">
                  <a16:creationId xmlns:a16="http://schemas.microsoft.com/office/drawing/2014/main" id="{0F927BDE-7613-4A1B-9405-C18A0AA02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0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9D0BF9DE-3D09-432F-B97F-D68AFE1C7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78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" name="Rectangle 44">
              <a:extLst>
                <a:ext uri="{FF2B5EF4-FFF2-40B4-BE49-F238E27FC236}">
                  <a16:creationId xmlns:a16="http://schemas.microsoft.com/office/drawing/2014/main" id="{7807AD9B-3A59-4121-9F68-FB858FD6D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339" y="549274"/>
              <a:ext cx="288000" cy="5759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7" name="Footnote example">
            <a:extLst>
              <a:ext uri="{FF2B5EF4-FFF2-40B4-BE49-F238E27FC236}">
                <a16:creationId xmlns:a16="http://schemas.microsoft.com/office/drawing/2014/main" id="{DBF27226-1CAE-4EC3-B7C2-CD7BFF212B2F}"/>
              </a:ext>
            </a:extLst>
          </p:cNvPr>
          <p:cNvSpPr txBox="1"/>
          <p:nvPr userDrawn="1"/>
        </p:nvSpPr>
        <p:spPr>
          <a:xfrm>
            <a:off x="607240" y="6955881"/>
            <a:ext cx="9955173" cy="3053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Footnotes/Notes</a:t>
            </a:r>
          </a:p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Include a sourc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491C5D-1CCA-4AD2-960D-E2D2520D37E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2666099" y="7110179"/>
            <a:ext cx="166103" cy="16963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2547BBBC-05CB-49BC-A9CC-2D869F0C1D2C}" type="slidenum">
              <a:rPr lang="en-IN" smtClean="0"/>
              <a:pPr/>
              <a:t>‹#›</a:t>
            </a:fld>
            <a:endParaRPr lang="en-IN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5092CC-99B7-42FA-B922-D9A469AA61A3}"/>
              </a:ext>
            </a:extLst>
          </p:cNvPr>
          <p:cNvGrpSpPr/>
          <p:nvPr userDrawn="1"/>
        </p:nvGrpSpPr>
        <p:grpSpPr>
          <a:xfrm>
            <a:off x="607242" y="6786515"/>
            <a:ext cx="12224960" cy="60847"/>
            <a:chOff x="550864" y="6156603"/>
            <a:chExt cx="11089971" cy="55199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7D78F6B-68EA-4677-8270-E6CE44B4A9DC}"/>
                </a:ext>
              </a:extLst>
            </p:cNvPr>
            <p:cNvSpPr/>
            <p:nvPr userDrawn="1"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6E6D155-C668-4620-947B-CD6756DB3E3F}"/>
                </a:ext>
              </a:extLst>
            </p:cNvPr>
            <p:cNvSpPr/>
            <p:nvPr userDrawn="1"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3A33606-AE46-4272-A076-D6F1DEF2BE14}"/>
                </a:ext>
              </a:extLst>
            </p:cNvPr>
            <p:cNvSpPr/>
            <p:nvPr userDrawn="1"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7AF00D4-2C2C-4B64-AC48-30E76E740B68}"/>
                </a:ext>
              </a:extLst>
            </p:cNvPr>
            <p:cNvSpPr/>
            <p:nvPr userDrawn="1"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53F07A3-100A-4285-8103-25EB4F518B92}"/>
                </a:ext>
              </a:extLst>
            </p:cNvPr>
            <p:cNvSpPr/>
            <p:nvPr userDrawn="1"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chemeClr val="tx2">
                <a:lumMod val="40000"/>
                <a:lumOff val="60000"/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4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3F2152-358B-4AF4-9E4C-FFC021458588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1"/>
            <a:chOff x="11979436" y="4529724"/>
            <a:chExt cx="110809" cy="2047719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EE3E2D1-AA6B-4858-AEA5-CA4E153942A1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F01DC23-2710-4E23-8ECF-D42A01049798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625F897C-F6DC-43F6-83A9-103566BB7B1A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97483D6-4F68-4046-9938-3975F46B128B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0260B8F-626E-4F6C-82D6-73BBB93D898A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8041FBB-4E11-4186-939C-922BB885CE7F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B9D46F4-06A5-41BD-A370-19C37CA28B53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B4380E05-CB91-42D7-A593-68D7E79B69EF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D399139-04A8-4906-A0E9-F32ED37B1DB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E2C3744-960D-4FE8-A425-0A1BCCBFDCE3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656CA51-5E36-4B65-AAB5-604B2FFF1CA6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BEF9EA6-DC0A-4745-950A-75EB35C11A83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185182D-9507-4706-B5C3-7D60904B8C4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DC967172-2751-4E17-ACEB-B9AC16A1C8EE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B1C13260-A832-4897-8C2A-B004FA9AB5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59" name="Copyright">
              <a:extLst>
                <a:ext uri="{FF2B5EF4-FFF2-40B4-BE49-F238E27FC236}">
                  <a16:creationId xmlns:a16="http://schemas.microsoft.com/office/drawing/2014/main" id="{4E29D673-EFE2-4CE9-96D3-54B928054039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1. All rights reserved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679ACBB-550D-47A2-9ADD-A6C09F32A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488532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A9FA602-B0B9-4981-B1E1-9FFC8BD86320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83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Layout" preserve="1">
  <p:cSld name="Blue Layou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3"/>
          <p:cNvSpPr/>
          <p:nvPr/>
        </p:nvSpPr>
        <p:spPr>
          <a:xfrm>
            <a:off x="0" y="0"/>
            <a:ext cx="13439775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803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84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" name="Google Shape;50;p83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51" name="Google Shape;51;p8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8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8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8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8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8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8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8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63;p8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84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83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dirty="0"/>
          </a:p>
        </p:txBody>
      </p:sp>
      <p:sp>
        <p:nvSpPr>
          <p:cNvPr id="65" name="Google Shape;65;p83"/>
          <p:cNvSpPr txBox="1">
            <a:spLocks noGrp="1"/>
          </p:cNvSpPr>
          <p:nvPr>
            <p:ph type="ftr" idx="11"/>
          </p:nvPr>
        </p:nvSpPr>
        <p:spPr>
          <a:xfrm>
            <a:off x="607240" y="7087815"/>
            <a:ext cx="105316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CDD9F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83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004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 type="title">
  <p:cSld name="Title Slide (Option 2)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6" descr="A large body of water with a city in th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97631" y="297625"/>
            <a:ext cx="12844510" cy="6964425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6"/>
          <p:cNvSpPr/>
          <p:nvPr/>
        </p:nvSpPr>
        <p:spPr>
          <a:xfrm>
            <a:off x="591351" y="595250"/>
            <a:ext cx="7015195" cy="6964425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9411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9411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6"/>
          <p:cNvSpPr txBox="1">
            <a:spLocks noGrp="1"/>
          </p:cNvSpPr>
          <p:nvPr>
            <p:ph type="ctrTitle"/>
          </p:nvPr>
        </p:nvSpPr>
        <p:spPr>
          <a:xfrm>
            <a:off x="995302" y="3974106"/>
            <a:ext cx="5884248" cy="763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512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46"/>
          <p:cNvSpPr txBox="1">
            <a:spLocks noGrp="1"/>
          </p:cNvSpPr>
          <p:nvPr>
            <p:ph type="subTitle" idx="1"/>
          </p:nvPr>
        </p:nvSpPr>
        <p:spPr>
          <a:xfrm>
            <a:off x="995302" y="4793503"/>
            <a:ext cx="5884248" cy="463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205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46"/>
          <p:cNvSpPr txBox="1">
            <a:spLocks noGrp="1"/>
          </p:cNvSpPr>
          <p:nvPr>
            <p:ph type="dt" idx="10"/>
          </p:nvPr>
        </p:nvSpPr>
        <p:spPr>
          <a:xfrm>
            <a:off x="995302" y="6529771"/>
            <a:ext cx="1763667" cy="237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3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8" name="Google Shape;38;p4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5302" y="993993"/>
            <a:ext cx="2753051" cy="6330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41070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68021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2318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A415120D-3668-49C1-AE11-A5139E17F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t="3933" r="2214" b="3933"/>
          <a:stretch/>
        </p:blipFill>
        <p:spPr>
          <a:xfrm>
            <a:off x="297631" y="297625"/>
            <a:ext cx="12844510" cy="69644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BE857BB-5DDF-4AEA-8F22-D5F9820E5C07}"/>
              </a:ext>
            </a:extLst>
          </p:cNvPr>
          <p:cNvSpPr/>
          <p:nvPr userDrawn="1"/>
        </p:nvSpPr>
        <p:spPr>
          <a:xfrm>
            <a:off x="591351" y="595250"/>
            <a:ext cx="7015195" cy="69644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6B2B309-DF2B-9D8F-69F9-E990D37D8E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4843" y="685901"/>
            <a:ext cx="3298595" cy="12333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A727BF-EF41-4850-A868-11C0325A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512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5302" y="3378174"/>
            <a:ext cx="5884248" cy="135934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512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5291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5302" y="4793503"/>
            <a:ext cx="5884248" cy="322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205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51986" lvl="0" indent="-251986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02" y="6529771"/>
            <a:ext cx="395942" cy="21371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543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51986" indent="-251986">
              <a:lnSpc>
                <a:spcPct val="90000"/>
              </a:lnSpc>
              <a:spcBef>
                <a:spcPts val="1102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294471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3439775" cy="7559675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68"/>
          <p:cNvSpPr/>
          <p:nvPr/>
        </p:nvSpPr>
        <p:spPr>
          <a:xfrm>
            <a:off x="1" y="0"/>
            <a:ext cx="2957133" cy="7559675"/>
          </a:xfrm>
          <a:prstGeom prst="rect">
            <a:avLst/>
          </a:prstGeom>
          <a:solidFill>
            <a:schemeClr val="lt2">
              <a:alpha val="69411"/>
            </a:schemeClr>
          </a:soli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46;p68"/>
          <p:cNvSpPr/>
          <p:nvPr/>
        </p:nvSpPr>
        <p:spPr>
          <a:xfrm>
            <a:off x="0" y="4079076"/>
            <a:ext cx="10375275" cy="2661635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>
                  <a:alpha val="89411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8"/>
          <p:cNvSpPr txBox="1">
            <a:spLocks noGrp="1"/>
          </p:cNvSpPr>
          <p:nvPr>
            <p:ph type="title"/>
          </p:nvPr>
        </p:nvSpPr>
        <p:spPr>
          <a:xfrm>
            <a:off x="813079" y="4935877"/>
            <a:ext cx="9364299" cy="916085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9411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614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" name="Google Shape;48;p68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49" name="Google Shape;49;p6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6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6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6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6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6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6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6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6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6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6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6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6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" name="Google Shape;62;p68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68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57"/>
          <p:cNvSpPr/>
          <p:nvPr/>
        </p:nvSpPr>
        <p:spPr>
          <a:xfrm>
            <a:off x="0" y="0"/>
            <a:ext cx="13439775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57"/>
          <p:cNvSpPr txBox="1"/>
          <p:nvPr/>
        </p:nvSpPr>
        <p:spPr>
          <a:xfrm>
            <a:off x="607240" y="6575817"/>
            <a:ext cx="3338896" cy="407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323" b="1" i="0" u="sng" strike="noStrike" cap="none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323" b="1" i="0" u="none" strike="noStrike" cap="none" dirty="0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323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" name="Google Shape;124;p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92313" y="3313617"/>
            <a:ext cx="4055150" cy="9324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125;p57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2482201" y="6575816"/>
            <a:ext cx="408233" cy="4082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" name="Google Shape;126;p57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1933934" y="6575816"/>
            <a:ext cx="406553" cy="4082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p57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1385667" y="6575816"/>
            <a:ext cx="406553" cy="4082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2854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50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50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1" name="Google Shape;131;p50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50"/>
          <p:cNvSpPr txBox="1">
            <a:spLocks noGrp="1"/>
          </p:cNvSpPr>
          <p:nvPr>
            <p:ph type="body" idx="1"/>
          </p:nvPr>
        </p:nvSpPr>
        <p:spPr>
          <a:xfrm>
            <a:off x="607239" y="1133537"/>
            <a:ext cx="12224961" cy="463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205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55432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58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5" name="Google Shape;135;p58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136" name="Google Shape;136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137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138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49" name="Google Shape;149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3020766" y="6998641"/>
            <a:ext cx="486604" cy="75738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58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58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97074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59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59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5" name="Google Shape;155;p59"/>
          <p:cNvSpPr txBox="1">
            <a:spLocks noGrp="1"/>
          </p:cNvSpPr>
          <p:nvPr>
            <p:ph type="body" idx="1"/>
          </p:nvPr>
        </p:nvSpPr>
        <p:spPr>
          <a:xfrm>
            <a:off x="607241" y="2398421"/>
            <a:ext cx="5953400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251986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59"/>
          <p:cNvSpPr txBox="1">
            <a:spLocks noGrp="1"/>
          </p:cNvSpPr>
          <p:nvPr>
            <p:ph type="body" idx="2"/>
          </p:nvPr>
        </p:nvSpPr>
        <p:spPr>
          <a:xfrm>
            <a:off x="607241" y="2047413"/>
            <a:ext cx="5953400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59"/>
          <p:cNvSpPr txBox="1">
            <a:spLocks noGrp="1"/>
          </p:cNvSpPr>
          <p:nvPr>
            <p:ph type="body" idx="3"/>
          </p:nvPr>
        </p:nvSpPr>
        <p:spPr>
          <a:xfrm>
            <a:off x="6879137" y="2398421"/>
            <a:ext cx="5953400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59"/>
          <p:cNvSpPr txBox="1">
            <a:spLocks noGrp="1"/>
          </p:cNvSpPr>
          <p:nvPr>
            <p:ph type="body" idx="4"/>
          </p:nvPr>
        </p:nvSpPr>
        <p:spPr>
          <a:xfrm>
            <a:off x="6879137" y="2047413"/>
            <a:ext cx="5953400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9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18294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60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60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3" name="Google Shape;163;p60"/>
          <p:cNvSpPr txBox="1">
            <a:spLocks noGrp="1"/>
          </p:cNvSpPr>
          <p:nvPr>
            <p:ph type="body" idx="1"/>
          </p:nvPr>
        </p:nvSpPr>
        <p:spPr>
          <a:xfrm>
            <a:off x="607242" y="2398421"/>
            <a:ext cx="3865893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251986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60"/>
          <p:cNvSpPr txBox="1">
            <a:spLocks noGrp="1"/>
          </p:cNvSpPr>
          <p:nvPr>
            <p:ph type="body" idx="2"/>
          </p:nvPr>
        </p:nvSpPr>
        <p:spPr>
          <a:xfrm>
            <a:off x="607242" y="2047413"/>
            <a:ext cx="3865893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60"/>
          <p:cNvSpPr txBox="1">
            <a:spLocks noGrp="1"/>
          </p:cNvSpPr>
          <p:nvPr>
            <p:ph type="body" idx="3"/>
          </p:nvPr>
        </p:nvSpPr>
        <p:spPr>
          <a:xfrm>
            <a:off x="8968491" y="2398421"/>
            <a:ext cx="3864046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60"/>
          <p:cNvSpPr txBox="1">
            <a:spLocks noGrp="1"/>
          </p:cNvSpPr>
          <p:nvPr>
            <p:ph type="body" idx="4"/>
          </p:nvPr>
        </p:nvSpPr>
        <p:spPr>
          <a:xfrm>
            <a:off x="8968491" y="2047413"/>
            <a:ext cx="3864046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60"/>
          <p:cNvSpPr txBox="1">
            <a:spLocks noGrp="1"/>
          </p:cNvSpPr>
          <p:nvPr>
            <p:ph type="body" idx="5"/>
          </p:nvPr>
        </p:nvSpPr>
        <p:spPr>
          <a:xfrm>
            <a:off x="4788760" y="2398421"/>
            <a:ext cx="3864046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60"/>
          <p:cNvSpPr txBox="1">
            <a:spLocks noGrp="1"/>
          </p:cNvSpPr>
          <p:nvPr>
            <p:ph type="body" idx="6"/>
          </p:nvPr>
        </p:nvSpPr>
        <p:spPr>
          <a:xfrm>
            <a:off x="4788760" y="2047413"/>
            <a:ext cx="3864046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60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6156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62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62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5" name="Google Shape;185;p62"/>
          <p:cNvSpPr txBox="1">
            <a:spLocks noGrp="1"/>
          </p:cNvSpPr>
          <p:nvPr>
            <p:ph type="body" idx="1"/>
          </p:nvPr>
        </p:nvSpPr>
        <p:spPr>
          <a:xfrm>
            <a:off x="607242" y="2398421"/>
            <a:ext cx="2186609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251986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62"/>
          <p:cNvSpPr txBox="1">
            <a:spLocks noGrp="1"/>
          </p:cNvSpPr>
          <p:nvPr>
            <p:ph type="body" idx="2"/>
          </p:nvPr>
        </p:nvSpPr>
        <p:spPr>
          <a:xfrm>
            <a:off x="607242" y="2047413"/>
            <a:ext cx="2186609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body" idx="3"/>
          </p:nvPr>
        </p:nvSpPr>
        <p:spPr>
          <a:xfrm>
            <a:off x="5626418" y="2398421"/>
            <a:ext cx="2182678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4"/>
          </p:nvPr>
        </p:nvSpPr>
        <p:spPr>
          <a:xfrm>
            <a:off x="5626418" y="2047413"/>
            <a:ext cx="2182678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5"/>
          </p:nvPr>
        </p:nvSpPr>
        <p:spPr>
          <a:xfrm>
            <a:off x="3116830" y="2398421"/>
            <a:ext cx="2186609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251986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6"/>
          </p:nvPr>
        </p:nvSpPr>
        <p:spPr>
          <a:xfrm>
            <a:off x="3116830" y="2047413"/>
            <a:ext cx="2186609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7"/>
          </p:nvPr>
        </p:nvSpPr>
        <p:spPr>
          <a:xfrm>
            <a:off x="8136006" y="2398421"/>
            <a:ext cx="2182678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8"/>
          </p:nvPr>
        </p:nvSpPr>
        <p:spPr>
          <a:xfrm>
            <a:off x="8136006" y="2047413"/>
            <a:ext cx="2182678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9"/>
          </p:nvPr>
        </p:nvSpPr>
        <p:spPr>
          <a:xfrm>
            <a:off x="10649524" y="2398421"/>
            <a:ext cx="2182678" cy="366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543"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40181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2pPr>
            <a:lvl3pPr marL="1511915" lvl="2" indent="-349980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3pPr>
            <a:lvl4pPr marL="2015886" lvl="3" indent="-340181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260"/>
              <a:buChar char="▪"/>
              <a:defRPr sz="1543">
                <a:latin typeface="Calibri"/>
                <a:ea typeface="Calibri"/>
                <a:cs typeface="Calibri"/>
                <a:sym typeface="Calibri"/>
              </a:defRPr>
            </a:lvl4pPr>
            <a:lvl5pPr marL="2519858" lvl="4" indent="-349980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400"/>
              <a:buChar char="−"/>
              <a:defRPr sz="1543">
                <a:latin typeface="Calibri"/>
                <a:ea typeface="Calibri"/>
                <a:cs typeface="Calibri"/>
                <a:sym typeface="Calibri"/>
              </a:defRPr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13"/>
          </p:nvPr>
        </p:nvSpPr>
        <p:spPr>
          <a:xfrm>
            <a:off x="10649524" y="2047413"/>
            <a:ext cx="2182678" cy="431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503972" lvl="0" indent="-251986" algn="l">
              <a:lnSpc>
                <a:spcPct val="95000"/>
              </a:lnSpc>
              <a:spcBef>
                <a:spcPts val="1102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984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007943" lvl="1" indent="-365378" algn="l">
              <a:lnSpc>
                <a:spcPct val="95000"/>
              </a:lnSpc>
              <a:spcBef>
                <a:spcPts val="551"/>
              </a:spcBef>
              <a:spcAft>
                <a:spcPts val="0"/>
              </a:spcAft>
              <a:buSzPts val="1620"/>
              <a:buChar char="▪"/>
              <a:defRPr/>
            </a:lvl2pPr>
            <a:lvl3pPr marL="1511915" lvl="2" indent="-377979" algn="l">
              <a:lnSpc>
                <a:spcPct val="95000"/>
              </a:lnSpc>
              <a:spcBef>
                <a:spcPts val="331"/>
              </a:spcBef>
              <a:spcAft>
                <a:spcPts val="0"/>
              </a:spcAft>
              <a:buSzPts val="1800"/>
              <a:buChar char="−"/>
              <a:defRPr/>
            </a:lvl3pPr>
            <a:lvl4pPr marL="2015886" lvl="3" indent="-365378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620"/>
              <a:buChar char="▪"/>
              <a:defRPr/>
            </a:lvl4pPr>
            <a:lvl5pPr marL="2519858" lvl="4" indent="-377979" algn="l">
              <a:lnSpc>
                <a:spcPct val="95000"/>
              </a:lnSpc>
              <a:spcBef>
                <a:spcPts val="110"/>
              </a:spcBef>
              <a:spcAft>
                <a:spcPts val="0"/>
              </a:spcAft>
              <a:buSzPts val="1800"/>
              <a:buChar char="−"/>
              <a:defRPr/>
            </a:lvl5pPr>
            <a:lvl6pPr marL="3023829" lvl="5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527801" lvl="6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031772" lvl="7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535744" lvl="8" indent="-377979" algn="l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10741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63"/>
          <p:cNvSpPr/>
          <p:nvPr/>
        </p:nvSpPr>
        <p:spPr>
          <a:xfrm>
            <a:off x="0" y="-1"/>
            <a:ext cx="4475269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63"/>
          <p:cNvSpPr txBox="1">
            <a:spLocks noGrp="1"/>
          </p:cNvSpPr>
          <p:nvPr>
            <p:ph type="title"/>
          </p:nvPr>
        </p:nvSpPr>
        <p:spPr>
          <a:xfrm>
            <a:off x="624082" y="3436343"/>
            <a:ext cx="3342819" cy="6869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96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63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0" name="Google Shape;200;p63"/>
          <p:cNvSpPr txBox="1">
            <a:spLocks noGrp="1"/>
          </p:cNvSpPr>
          <p:nvPr>
            <p:ph type="ftr" idx="11"/>
          </p:nvPr>
        </p:nvSpPr>
        <p:spPr>
          <a:xfrm>
            <a:off x="480717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7308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64"/>
          <p:cNvSpPr/>
          <p:nvPr/>
        </p:nvSpPr>
        <p:spPr>
          <a:xfrm>
            <a:off x="1" y="-1"/>
            <a:ext cx="6722684" cy="7559674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9411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64"/>
          <p:cNvSpPr txBox="1">
            <a:spLocks noGrp="1"/>
          </p:cNvSpPr>
          <p:nvPr>
            <p:ph type="title"/>
          </p:nvPr>
        </p:nvSpPr>
        <p:spPr>
          <a:xfrm>
            <a:off x="594604" y="620427"/>
            <a:ext cx="5593654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64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05" name="Google Shape;205;p64"/>
          <p:cNvCxnSpPr/>
          <p:nvPr/>
        </p:nvCxnSpPr>
        <p:spPr>
          <a:xfrm>
            <a:off x="594604" y="534523"/>
            <a:ext cx="5952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64"/>
          <p:cNvSpPr txBox="1">
            <a:spLocks noGrp="1"/>
          </p:cNvSpPr>
          <p:nvPr>
            <p:ph type="ftr" idx="11"/>
          </p:nvPr>
        </p:nvSpPr>
        <p:spPr>
          <a:xfrm>
            <a:off x="605442" y="7110214"/>
            <a:ext cx="5593654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81143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65"/>
          <p:cNvSpPr/>
          <p:nvPr/>
        </p:nvSpPr>
        <p:spPr>
          <a:xfrm>
            <a:off x="0" y="0"/>
            <a:ext cx="13439775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" name="Google Shape;209;p65"/>
          <p:cNvSpPr txBox="1">
            <a:spLocks noGrp="1"/>
          </p:cNvSpPr>
          <p:nvPr>
            <p:ph type="title"/>
          </p:nvPr>
        </p:nvSpPr>
        <p:spPr>
          <a:xfrm>
            <a:off x="594604" y="617944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0" name="Google Shape;210;p65"/>
          <p:cNvCxnSpPr/>
          <p:nvPr/>
        </p:nvCxnSpPr>
        <p:spPr>
          <a:xfrm>
            <a:off x="594604" y="534523"/>
            <a:ext cx="5952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1" name="Google Shape;211;p65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212" name="Google Shape;212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13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14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15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" name="Google Shape;225;p65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65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7" name="Google Shape;227;p65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1030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85391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" t="8006" r="4517" b="8006"/>
          <a:stretch/>
        </p:blipFill>
        <p:spPr>
          <a:xfrm>
            <a:off x="607238" y="605474"/>
            <a:ext cx="12225296" cy="634872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DE9B-D3C3-4D9E-909D-59D0ACABEB18}"/>
              </a:ext>
            </a:extLst>
          </p:cNvPr>
          <p:cNvSpPr/>
          <p:nvPr userDrawn="1"/>
        </p:nvSpPr>
        <p:spPr>
          <a:xfrm>
            <a:off x="1194448" y="1190500"/>
            <a:ext cx="6411436" cy="636917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26000">
                <a:schemeClr val="tx2">
                  <a:lumMod val="75000"/>
                  <a:alpha val="90000"/>
                </a:schemeClr>
              </a:gs>
              <a:gs pos="6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50F7501-6EC7-1AC7-42E0-4E0B8DEC26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84943" y="1452662"/>
            <a:ext cx="3298595" cy="1233388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3BFC25-365A-4293-AFC3-06979C33ED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512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98970" y="6369176"/>
            <a:ext cx="395942" cy="21371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543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51986" indent="-251986">
              <a:lnSpc>
                <a:spcPct val="90000"/>
              </a:lnSpc>
              <a:spcBef>
                <a:spcPts val="1102"/>
              </a:spcBef>
            </a:pPr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8971" y="3978112"/>
            <a:ext cx="5290511" cy="135934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512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5291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98971" y="5393441"/>
            <a:ext cx="5290511" cy="322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205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51986" lvl="0" indent="-251986"/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46845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66"/>
          <p:cNvSpPr/>
          <p:nvPr/>
        </p:nvSpPr>
        <p:spPr>
          <a:xfrm>
            <a:off x="0" y="0"/>
            <a:ext cx="13439775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0" name="Google Shape;230;p66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231" name="Google Shape;231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Google Shape;233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34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4" name="Google Shape;244;p66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66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6" name="Google Shape;246;p66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99047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67"/>
          <p:cNvSpPr/>
          <p:nvPr/>
        </p:nvSpPr>
        <p:spPr>
          <a:xfrm>
            <a:off x="8967305" y="-1"/>
            <a:ext cx="4475269" cy="7559676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9411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" name="Google Shape;249;p67"/>
          <p:cNvSpPr txBox="1">
            <a:spLocks noGrp="1"/>
          </p:cNvSpPr>
          <p:nvPr>
            <p:ph type="title"/>
          </p:nvPr>
        </p:nvSpPr>
        <p:spPr>
          <a:xfrm>
            <a:off x="594604" y="620428"/>
            <a:ext cx="800425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67"/>
          <p:cNvSpPr txBox="1">
            <a:spLocks noGrp="1"/>
          </p:cNvSpPr>
          <p:nvPr>
            <p:ph type="sldNum" idx="12"/>
          </p:nvPr>
        </p:nvSpPr>
        <p:spPr>
          <a:xfrm>
            <a:off x="12666430" y="7104742"/>
            <a:ext cx="166104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1" name="Google Shape;251;p67"/>
          <p:cNvCxnSpPr/>
          <p:nvPr/>
        </p:nvCxnSpPr>
        <p:spPr>
          <a:xfrm>
            <a:off x="594604" y="534523"/>
            <a:ext cx="595266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2" name="Google Shape;252;p67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253" name="Google Shape;253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6" name="Google Shape;266;p67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67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8021095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38950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9" name="Google Shape;269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3439775" cy="7559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69"/>
          <p:cNvSpPr/>
          <p:nvPr/>
        </p:nvSpPr>
        <p:spPr>
          <a:xfrm>
            <a:off x="0" y="0"/>
            <a:ext cx="13439775" cy="7559675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9411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Google Shape;271;p69"/>
          <p:cNvSpPr txBox="1">
            <a:spLocks noGrp="1"/>
          </p:cNvSpPr>
          <p:nvPr>
            <p:ph type="title"/>
          </p:nvPr>
        </p:nvSpPr>
        <p:spPr>
          <a:xfrm>
            <a:off x="1093955" y="4845995"/>
            <a:ext cx="7480282" cy="916085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9411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614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2" name="Google Shape;272;p69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273" name="Google Shape;273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6" name="Google Shape;286;p69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7" name="Google Shape;287;p69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88" name="Google Shape;288;p69"/>
          <p:cNvCxnSpPr/>
          <p:nvPr/>
        </p:nvCxnSpPr>
        <p:spPr>
          <a:xfrm>
            <a:off x="1093954" y="6296757"/>
            <a:ext cx="1700328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03037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70"/>
          <p:cNvSpPr/>
          <p:nvPr/>
        </p:nvSpPr>
        <p:spPr>
          <a:xfrm>
            <a:off x="0" y="0"/>
            <a:ext cx="13441098" cy="7559675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4313"/>
            </a:srgbClr>
          </a:solidFill>
          <a:ln>
            <a:noFill/>
          </a:ln>
        </p:spPr>
        <p:txBody>
          <a:bodyPr spcFirstLastPara="1" wrap="square" lIns="100779" tIns="50376" rIns="100779" bIns="5037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1" name="Google Shape;291;p70"/>
          <p:cNvGrpSpPr/>
          <p:nvPr/>
        </p:nvGrpSpPr>
        <p:grpSpPr>
          <a:xfrm>
            <a:off x="-661" y="605474"/>
            <a:ext cx="13441099" cy="6348727"/>
            <a:chOff x="-600" y="549275"/>
            <a:chExt cx="12193201" cy="5759450"/>
          </a:xfrm>
        </p:grpSpPr>
        <p:cxnSp>
          <p:nvCxnSpPr>
            <p:cNvPr id="292" name="Google Shape;292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3" name="Google Shape;293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4" name="Google Shape;294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5" name="Google Shape;295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5" name="Google Shape;315;p70"/>
          <p:cNvSpPr/>
          <p:nvPr/>
        </p:nvSpPr>
        <p:spPr>
          <a:xfrm>
            <a:off x="606579" y="6954197"/>
            <a:ext cx="12225955" cy="288585"/>
          </a:xfrm>
          <a:prstGeom prst="rect">
            <a:avLst/>
          </a:prstGeom>
          <a:solidFill>
            <a:srgbClr val="FF0000">
              <a:alpha val="9411"/>
            </a:srgbClr>
          </a:solidFill>
          <a:ln>
            <a:noFill/>
          </a:ln>
        </p:spPr>
        <p:txBody>
          <a:bodyPr spcFirstLastPara="1" wrap="square" lIns="100779" tIns="50376" rIns="100779" bIns="5037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p70"/>
          <p:cNvSpPr/>
          <p:nvPr/>
        </p:nvSpPr>
        <p:spPr>
          <a:xfrm>
            <a:off x="607242" y="1486164"/>
            <a:ext cx="12242140" cy="561301"/>
          </a:xfrm>
          <a:prstGeom prst="rect">
            <a:avLst/>
          </a:prstGeom>
          <a:solidFill>
            <a:srgbClr val="FF0000">
              <a:alpha val="4313"/>
            </a:srgbClr>
          </a:solidFill>
          <a:ln>
            <a:noFill/>
          </a:ln>
        </p:spPr>
        <p:txBody>
          <a:bodyPr spcFirstLastPara="1" wrap="square" lIns="100779" tIns="50376" rIns="100779" bIns="5037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" name="Google Shape;317;p70"/>
          <p:cNvSpPr/>
          <p:nvPr/>
        </p:nvSpPr>
        <p:spPr>
          <a:xfrm>
            <a:off x="607241" y="2336944"/>
            <a:ext cx="12225295" cy="4617257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4509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0779" tIns="50376" rIns="100779" bIns="50376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323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8" name="Google Shape;318;p70"/>
          <p:cNvGrpSpPr/>
          <p:nvPr/>
        </p:nvGrpSpPr>
        <p:grpSpPr>
          <a:xfrm>
            <a:off x="1339721" y="2047465"/>
            <a:ext cx="10762182" cy="4914220"/>
            <a:chOff x="1215339" y="549274"/>
            <a:chExt cx="9763000" cy="5759450"/>
          </a:xfrm>
        </p:grpSpPr>
        <p:sp>
          <p:nvSpPr>
            <p:cNvPr id="319" name="Google Shape;319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320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322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0" name="Google Shape;330;p70"/>
          <p:cNvSpPr txBox="1"/>
          <p:nvPr/>
        </p:nvSpPr>
        <p:spPr>
          <a:xfrm>
            <a:off x="607240" y="6955881"/>
            <a:ext cx="9955173" cy="305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54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54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1" name="Google Shape;331;p70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2" name="Google Shape;332;p70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3" name="Google Shape;333;p70"/>
          <p:cNvGrpSpPr/>
          <p:nvPr/>
        </p:nvGrpSpPr>
        <p:grpSpPr>
          <a:xfrm>
            <a:off x="607242" y="6786515"/>
            <a:ext cx="12224960" cy="60847"/>
            <a:chOff x="550864" y="6156603"/>
            <a:chExt cx="11089971" cy="55199"/>
          </a:xfrm>
        </p:grpSpPr>
        <p:sp>
          <p:nvSpPr>
            <p:cNvPr id="334" name="Google Shape;334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335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336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337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941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06683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B3274E-F45F-3FF5-DFA6-4C4852FA3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67557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B3274E-F45F-3FF5-DFA6-4C4852FA3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0" name="Google Shape;340;p7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" y="0"/>
            <a:ext cx="3849933" cy="7559675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Google Shape;341;p71"/>
          <p:cNvSpPr/>
          <p:nvPr/>
        </p:nvSpPr>
        <p:spPr>
          <a:xfrm>
            <a:off x="1" y="-1"/>
            <a:ext cx="3849932" cy="7559674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4313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100779" tIns="50376" rIns="100779" bIns="50376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4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" name="Google Shape;342;p71"/>
          <p:cNvSpPr txBox="1">
            <a:spLocks noGrp="1"/>
          </p:cNvSpPr>
          <p:nvPr>
            <p:ph type="title"/>
          </p:nvPr>
        </p:nvSpPr>
        <p:spPr>
          <a:xfrm>
            <a:off x="414906" y="3321826"/>
            <a:ext cx="3333044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cxnSp>
        <p:nvCxnSpPr>
          <p:cNvPr id="343" name="Google Shape;343;p71"/>
          <p:cNvCxnSpPr>
            <a:cxnSpLocks/>
          </p:cNvCxnSpPr>
          <p:nvPr/>
        </p:nvCxnSpPr>
        <p:spPr>
          <a:xfrm>
            <a:off x="399982" y="3018734"/>
            <a:ext cx="5952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749830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357485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829051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B52237-4F8A-4F28-B2AF-5014C898F7F8}"/>
              </a:ext>
            </a:extLst>
          </p:cNvPr>
          <p:cNvSpPr/>
          <p:nvPr userDrawn="1"/>
        </p:nvSpPr>
        <p:spPr>
          <a:xfrm>
            <a:off x="0" y="2"/>
            <a:ext cx="13439775" cy="76331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57" dirty="0">
              <a:solidFill>
                <a:srgbClr val="4B4B4B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C46470-6B85-42AC-858F-07BE622DF338}"/>
              </a:ext>
            </a:extLst>
          </p:cNvPr>
          <p:cNvSpPr/>
          <p:nvPr userDrawn="1"/>
        </p:nvSpPr>
        <p:spPr>
          <a:xfrm>
            <a:off x="0" y="2866377"/>
            <a:ext cx="13439775" cy="384283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57" dirty="0">
              <a:solidFill>
                <a:srgbClr val="4B4B4B"/>
              </a:solidFill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9EE6E236-101E-42EB-81FB-302691A30A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7015" y="4509008"/>
            <a:ext cx="7129381" cy="479779"/>
          </a:xfrm>
          <a:prstGeom prst="rect">
            <a:avLst/>
          </a:prstGeom>
        </p:spPr>
        <p:txBody>
          <a:bodyPr/>
          <a:lstStyle>
            <a:lvl1pPr>
              <a:defRPr sz="2315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Sub-Section in Report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8AB815C-183A-4AED-B7E8-6684B137AD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015" y="5336911"/>
            <a:ext cx="7129381" cy="362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88241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620298" y="176063"/>
            <a:ext cx="12199180" cy="62783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algn="l" rtl="0">
              <a:lnSpc>
                <a:spcPct val="90000"/>
              </a:lnSpc>
              <a:spcBef>
                <a:spcPts val="0"/>
              </a:spcBef>
              <a:buClr>
                <a:schemeClr val="accent3"/>
              </a:buClr>
              <a:buFont typeface="Arial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620298" y="1716254"/>
            <a:ext cx="12199180" cy="45547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1pPr>
            <a:lvl2pPr marL="368296" indent="-148611" algn="l" rtl="0">
              <a:lnSpc>
                <a:spcPct val="110000"/>
              </a:lnSpc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/>
            </a:lvl2pPr>
            <a:lvl3pPr marL="636442" indent="-197070" algn="l" rtl="0">
              <a:lnSpc>
                <a:spcPct val="110000"/>
              </a:lnSpc>
              <a:spcBef>
                <a:spcPts val="0"/>
              </a:spcBef>
              <a:buClr>
                <a:srgbClr val="A9A9A9"/>
              </a:buClr>
              <a:buFont typeface="Arial"/>
              <a:buChar char="–"/>
              <a:defRPr/>
            </a:lvl3pPr>
            <a:lvl4pPr marL="904587" indent="-167995" algn="l" rtl="0">
              <a:lnSpc>
                <a:spcPct val="110000"/>
              </a:lnSpc>
              <a:spcBef>
                <a:spcPts val="0"/>
              </a:spcBef>
              <a:buClr>
                <a:srgbClr val="A9A9A9"/>
              </a:buClr>
              <a:buFont typeface="Arial"/>
              <a:buChar char="–"/>
              <a:defRPr/>
            </a:lvl4pPr>
            <a:lvl5pPr marL="1190502" indent="-195455" algn="l" rtl="0">
              <a:lnSpc>
                <a:spcPct val="110000"/>
              </a:lnSpc>
              <a:spcBef>
                <a:spcPts val="0"/>
              </a:spcBef>
              <a:buClr>
                <a:srgbClr val="A9A9A9"/>
              </a:buClr>
              <a:buFont typeface="Arial"/>
              <a:buChar char="–"/>
              <a:defRPr/>
            </a:lvl5pPr>
            <a:lvl6pPr marL="2558689" indent="-103381" algn="l" rtl="0">
              <a:spcBef>
                <a:spcPts val="407"/>
              </a:spcBef>
              <a:buClr>
                <a:schemeClr val="dk1"/>
              </a:buClr>
              <a:buFont typeface="Arial"/>
              <a:buChar char="•"/>
              <a:defRPr/>
            </a:lvl6pPr>
            <a:lvl7pPr marL="3023905" indent="-103381" algn="l" rtl="0">
              <a:spcBef>
                <a:spcPts val="407"/>
              </a:spcBef>
              <a:buClr>
                <a:schemeClr val="dk1"/>
              </a:buClr>
              <a:buFont typeface="Arial"/>
              <a:buChar char="•"/>
              <a:defRPr/>
            </a:lvl7pPr>
            <a:lvl8pPr marL="3489121" indent="-103381" algn="l" rtl="0">
              <a:spcBef>
                <a:spcPts val="407"/>
              </a:spcBef>
              <a:buClr>
                <a:schemeClr val="dk1"/>
              </a:buClr>
              <a:buFont typeface="Arial"/>
              <a:buChar char="•"/>
              <a:defRPr/>
            </a:lvl8pPr>
            <a:lvl9pPr marL="3954337" indent="-103381" algn="l" rtl="0">
              <a:spcBef>
                <a:spcPts val="407"/>
              </a:spcBef>
              <a:buClr>
                <a:schemeClr val="dk1"/>
              </a:buClr>
              <a:buFont typeface="Arial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57274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045070"/>
              </p:ext>
            </p:extLst>
          </p:nvPr>
        </p:nvGraphicFramePr>
        <p:xfrm>
          <a:off x="2335" y="1752"/>
          <a:ext cx="233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35" y="1752"/>
                        <a:ext cx="233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147" y="494470"/>
            <a:ext cx="12273485" cy="305340"/>
          </a:xfrm>
          <a:prstGeom prst="rect">
            <a:avLst/>
          </a:prstGeom>
        </p:spPr>
        <p:txBody>
          <a:bodyPr lIns="0" rIns="0"/>
          <a:lstStyle>
            <a:lvl1pPr>
              <a:defRPr sz="220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83147" y="1795430"/>
            <a:ext cx="12273485" cy="1027978"/>
          </a:xfrm>
          <a:prstGeom prst="rect">
            <a:avLst/>
          </a:prstGeom>
        </p:spPr>
        <p:txBody>
          <a:bodyPr lIns="0" rIns="0"/>
          <a:lstStyle>
            <a:lvl1pPr>
              <a:defRPr sz="1764">
                <a:solidFill>
                  <a:schemeClr val="tx1"/>
                </a:solidFill>
              </a:defRPr>
            </a:lvl1pPr>
            <a:lvl2pPr marL="335981" indent="-230987">
              <a:buClr>
                <a:schemeClr val="accent3"/>
              </a:buClr>
              <a:buFont typeface="Wingdings 2" panose="05020102010507070707" pitchFamily="18" charset="2"/>
              <a:buChar char=""/>
              <a:defRPr sz="1764">
                <a:solidFill>
                  <a:schemeClr val="tx1"/>
                </a:solidFill>
              </a:defRPr>
            </a:lvl2pPr>
            <a:lvl3pPr marL="713960" indent="-223987"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–"/>
              <a:defRPr sz="1764">
                <a:solidFill>
                  <a:schemeClr val="tx1"/>
                </a:solidFill>
              </a:defRPr>
            </a:lvl3pPr>
            <a:lvl4pPr>
              <a:defRPr sz="1764">
                <a:solidFill>
                  <a:schemeClr val="tx1"/>
                </a:solidFill>
              </a:defRPr>
            </a:lvl4pPr>
            <a:lvl5pPr>
              <a:defRPr sz="1764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618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21342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Option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E9C0F7-0947-46FA-9C54-3EB962151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23722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E9C0F7-0947-46FA-9C54-3EB96215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364E61D0-96DE-4258-B6B7-F0D58FB67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5627" r="-1" b="6561"/>
          <a:stretch/>
        </p:blipFill>
        <p:spPr>
          <a:xfrm>
            <a:off x="0" y="1677776"/>
            <a:ext cx="13439775" cy="588189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F336B7-5196-4F00-B83A-3DCD314992C8}"/>
              </a:ext>
            </a:extLst>
          </p:cNvPr>
          <p:cNvSpPr/>
          <p:nvPr userDrawn="1"/>
        </p:nvSpPr>
        <p:spPr>
          <a:xfrm>
            <a:off x="591351" y="0"/>
            <a:ext cx="7014534" cy="695420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39000">
                <a:schemeClr val="tx2">
                  <a:lumMod val="75000"/>
                  <a:alpha val="95000"/>
                </a:schemeClr>
              </a:gs>
              <a:gs pos="74000">
                <a:srgbClr val="036DFF">
                  <a:alpha val="80000"/>
                </a:srgbClr>
              </a:gs>
              <a:gs pos="100000">
                <a:schemeClr val="accent3">
                  <a:lumMod val="60000"/>
                  <a:lumOff val="40000"/>
                  <a:alpha val="90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43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683BD48-CFDF-B684-1DAD-50E88FF5A5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8203" y="163623"/>
            <a:ext cx="3561798" cy="1331803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14727E-8174-4A53-8CD1-66A25E0EE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512" b="0" i="0" baseline="0" dirty="0">
              <a:latin typeface="Franklin Gothic Demi" panose="020B0703020102020204" pitchFamily="34" charset="0"/>
              <a:ea typeface="Cambria Math" panose="02040503050406030204" pitchFamily="18" charset="0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096211-CADB-40EE-891C-C4ED3F3EB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5302" y="3378174"/>
            <a:ext cx="6038903" cy="135934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5512" cap="none" baseline="0" dirty="0">
                <a:solidFill>
                  <a:schemeClr val="bg1"/>
                </a:solidFill>
                <a:ea typeface="Cambria Math" panose="02040503050406030204" pitchFamily="18" charset="0"/>
              </a:defRPr>
            </a:lvl1pPr>
          </a:lstStyle>
          <a:p>
            <a:pPr marL="0" lvl="0">
              <a:lnSpc>
                <a:spcPts val="5291"/>
              </a:lnSpc>
            </a:pPr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565FE0-2809-493A-B700-817CBD62C8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5302" y="4793503"/>
            <a:ext cx="6038903" cy="322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sz="2205" cap="none" baseline="0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</a:defRPr>
            </a:lvl1pPr>
          </a:lstStyle>
          <a:p>
            <a:pPr marL="251986" lvl="0" indent="-251986"/>
            <a:r>
              <a:rPr lang="en-US"/>
              <a:t>Click to edit Master subtitle style</a:t>
            </a:r>
            <a:endParaRPr lang="en-IN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5D196B3-F737-4D0C-9218-25E0AD3082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5302" y="6440198"/>
            <a:ext cx="395942" cy="21371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lang="en-IN" sz="1543" dirty="0">
                <a:solidFill>
                  <a:schemeClr val="bg1"/>
                </a:solidFill>
                <a:latin typeface="Franklin Gothic Book" panose="020B0503020102020204" pitchFamily="34" charset="0"/>
                <a:ea typeface="Cambria Math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251986" indent="-251986">
              <a:lnSpc>
                <a:spcPct val="90000"/>
              </a:lnSpc>
              <a:spcBef>
                <a:spcPts val="1102"/>
              </a:spcBef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1459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0686753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20570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5830234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487202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3198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88B1CBF-9B2F-4725-98BB-E3D257115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04" y="617945"/>
            <a:ext cx="12224961" cy="418576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780B1B-10A8-4275-8A37-EBFD293490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7241" y="2398421"/>
            <a:ext cx="5953400" cy="138435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 marL="197739" indent="0">
              <a:buNone/>
              <a:defRPr lang="en-US" sz="1543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marL="395481" lvl="2" indent="-197740" algn="l" defTabSz="1007950" rtl="0" eaLnBrk="1" latinLnBrk="0" hangingPunct="1">
              <a:lnSpc>
                <a:spcPct val="95000"/>
              </a:lnSpc>
              <a:spcBef>
                <a:spcPts val="331"/>
              </a:spcBef>
              <a:buClr>
                <a:schemeClr val="tx2"/>
              </a:buClr>
              <a:buFont typeface="Calibri Light" panose="020F0302020204030204" pitchFamily="34" charset="0"/>
              <a:buChar char="−"/>
              <a:tabLst/>
            </a:pPr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9F3E203A-245A-43C9-8E76-679FC379C6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241" y="2047414"/>
            <a:ext cx="5953400" cy="418320"/>
          </a:xfrm>
        </p:spPr>
        <p:txBody>
          <a:bodyPr>
            <a:spAutoFit/>
          </a:bodyPr>
          <a:lstStyle>
            <a:lvl1pPr>
              <a:defRPr sz="1984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5469729-CF6F-44B6-8786-86953C3E48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79137" y="2398422"/>
            <a:ext cx="5953400" cy="1384353"/>
          </a:xfrm>
        </p:spPr>
        <p:txBody>
          <a:bodyPr vert="horz" lIns="0" tIns="0" rIns="0" bIns="0" rtlCol="0">
            <a:spAutoFit/>
          </a:bodyPr>
          <a:lstStyle>
            <a:lvl1pPr>
              <a:defRPr lang="en-US" sz="1543" dirty="0"/>
            </a:lvl1pPr>
            <a:lvl2pPr>
              <a:defRPr lang="en-US" sz="1543" dirty="0"/>
            </a:lvl2pPr>
            <a:lvl3pPr>
              <a:defRPr lang="en-US" sz="1543" dirty="0"/>
            </a:lvl3pPr>
            <a:lvl4pPr>
              <a:defRPr lang="en-US" sz="1543" dirty="0"/>
            </a:lvl4pPr>
            <a:lvl5pPr>
              <a:defRPr lang="en-IN" sz="1543" dirty="0"/>
            </a:lvl5pPr>
          </a:lstStyle>
          <a:p>
            <a:pPr lvl="0"/>
            <a:r>
              <a:rPr lang="en-US" dirty="0"/>
              <a:t>Paragraph Style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  <a:endParaRPr lang="en-IN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F6053A9-CAF1-4055-A337-32B8BE758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9137" y="2047414"/>
            <a:ext cx="5953400" cy="418320"/>
          </a:xfrm>
        </p:spPr>
        <p:txBody>
          <a:bodyPr>
            <a:spAutoFit/>
          </a:bodyPr>
          <a:lstStyle>
            <a:lvl1pPr>
              <a:defRPr sz="1984" b="1">
                <a:solidFill>
                  <a:schemeClr val="accent1"/>
                </a:solidFill>
                <a:latin typeface="+mn-lt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56E97DD-069F-4133-A109-0593CB969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2" y="7127144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38174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 preserve="1">
  <p:cSld name="1_Breaker Slide_1">
    <p:bg>
      <p:bgPr>
        <a:solidFill>
          <a:schemeClr val="lt2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FEEBE7-590A-7C8C-78C2-DFD25580D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7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oogle Shape;33;p40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/>
          <a:stretch/>
        </p:blipFill>
        <p:spPr>
          <a:xfrm>
            <a:off x="1" y="-7233"/>
            <a:ext cx="13439775" cy="7566908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0"/>
          <p:cNvSpPr/>
          <p:nvPr/>
        </p:nvSpPr>
        <p:spPr>
          <a:xfrm>
            <a:off x="0" y="4247818"/>
            <a:ext cx="6879136" cy="2492893"/>
          </a:xfrm>
          <a:prstGeom prst="rect">
            <a:avLst/>
          </a:prstGeom>
          <a:gradFill>
            <a:gsLst>
              <a:gs pos="0">
                <a:srgbClr val="062379">
                  <a:alpha val="80000"/>
                </a:srgbClr>
              </a:gs>
              <a:gs pos="55000">
                <a:srgbClr val="385ED2">
                  <a:alpha val="80000"/>
                </a:srgbClr>
              </a:gs>
              <a:gs pos="76000">
                <a:srgbClr val="4873F5">
                  <a:alpha val="80000"/>
                </a:srgbClr>
              </a:gs>
              <a:gs pos="100000">
                <a:srgbClr val="43E1D3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100781" tIns="50375" rIns="100781" bIns="503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98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0"/>
          <p:cNvSpPr txBox="1">
            <a:spLocks noGrp="1"/>
          </p:cNvSpPr>
          <p:nvPr>
            <p:ph type="title"/>
          </p:nvPr>
        </p:nvSpPr>
        <p:spPr>
          <a:xfrm>
            <a:off x="649331" y="5112684"/>
            <a:ext cx="5953399" cy="763158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551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grpSp>
        <p:nvGrpSpPr>
          <p:cNvPr id="36" name="Google Shape;36;p40"/>
          <p:cNvGrpSpPr/>
          <p:nvPr/>
        </p:nvGrpSpPr>
        <p:grpSpPr>
          <a:xfrm>
            <a:off x="13226428" y="6792673"/>
            <a:ext cx="75510" cy="487139"/>
            <a:chOff x="11998459" y="6162188"/>
            <a:chExt cx="68500" cy="441925"/>
          </a:xfrm>
        </p:grpSpPr>
        <p:sp>
          <p:nvSpPr>
            <p:cNvPr id="37" name="Google Shape;37;p4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8;p4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9;p4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4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41;p4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4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4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4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4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4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4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4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4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" name="Google Shape;50;p40"/>
          <p:cNvSpPr txBox="1"/>
          <p:nvPr/>
        </p:nvSpPr>
        <p:spPr>
          <a:xfrm rot="-5400000">
            <a:off x="12402461" y="5831938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IN" sz="882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544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40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035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hyp="http://schemas.microsoft.com/office/drawing/2018/hyperlinkcolor" xmlns:c="http://schemas.openxmlformats.org/drawingml/2006/chart" xmlns:com="http://schemas.openxmlformats.org/drawingml/2006/compatibility" xmlns:dgm="http://schemas.openxmlformats.org/drawingml/2006/diagram" xmlns:mv="urn:schemas-microsoft-com:mac:vml" xmlns:o="urn:schemas-microsoft-com:office:office" xmlns:p15="http://schemas.microsoft.com/office/powerpoint/2012/main" xmlns:pvml="urn:schemas-microsoft-com:office:powerpoint" xmlns:v="urn:schemas-microsoft-com:vml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EE13-6A4D-48C2-A4B1-30DA07094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60613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15EE13-6A4D-48C2-A4B1-30DA07094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63ADCA1-24FF-455B-8752-270197618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46550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IN" dirty="0">
                <a:latin typeface="Franklin Gothic Demi" panose="020B07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DA5DEC-E51B-46CB-9299-8778528682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241" y="1133537"/>
            <a:ext cx="12224961" cy="322304"/>
          </a:xfrm>
        </p:spPr>
        <p:txBody>
          <a:bodyPr>
            <a:spAutoFit/>
          </a:bodyPr>
          <a:lstStyle>
            <a:lvl1pPr>
              <a:defRPr sz="2205">
                <a:solidFill>
                  <a:schemeClr val="tx2">
                    <a:lumMod val="60000"/>
                    <a:lumOff val="40000"/>
                  </a:schemeClr>
                </a:solidFill>
                <a:latin typeface="Franklin Gothic Book" panose="020B050302010202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1CD3974-176A-43B6-8E60-33BCD19BB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50552250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365060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F019D7-0700-4AE7-A1BE-A3D0159A0D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0188F3D-7189-4E9E-89E6-895DD2D93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069741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 backgrou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1D3DB-AB84-4E5F-A44F-7037214B3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261571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1D3DB-AB84-4E5F-A44F-7037214B3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3ACF9-E695-4094-9A16-A4F48EC9FF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C9F0F1-7099-47DE-967C-B67444371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spAutoFit/>
          </a:bodyPr>
          <a:lstStyle>
            <a:lvl1pPr>
              <a:defRPr lang="en-IN" dirty="0"/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7D7FE3-E237-42E3-89BE-6BCC588B6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644596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8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oleObject" Target="../embeddings/oleObject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01376A-4F6C-4427-9AC0-67FB4C2B0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017814321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01376A-4F6C-4427-9AC0-67FB4C2B0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302799-8A9B-47DC-8DBF-34AF7857573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74997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27" b="0" i="0" baseline="0" dirty="0">
              <a:latin typeface="Franklin Gothic Demi" panose="020B0703020102020204" pitchFamily="34" charset="0"/>
              <a:ea typeface="+mj-ea"/>
              <a:cs typeface="Calibri" panose="020F050202020403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60F969-E23C-496D-A989-9312D6EAF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46550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9E90D-E2CC-4615-8D50-28FACCCB35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7240" y="2050210"/>
            <a:ext cx="12224962" cy="14588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71C6E-2232-442E-8448-AF1BD6203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7241" y="7127143"/>
            <a:ext cx="53895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>
              <a:defRPr kumimoji="0" lang="en-IN" sz="1102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IN" dirty="0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662E3-7504-4CA7-A6CD-7C5C765B7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66099" y="7127143"/>
            <a:ext cx="166103" cy="15266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lvl1pPr algn="r">
              <a:defRPr kumimoji="0" lang="en-IN" sz="1102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mtClean="0"/>
              <a:pPr>
                <a:lnSpc>
                  <a:spcPct val="90000"/>
                </a:lnSpc>
              </a:pPr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B9B51C-163C-4DBE-9F6D-38D4CB5FF7EC}"/>
              </a:ext>
            </a:extLst>
          </p:cNvPr>
          <p:cNvGrpSpPr/>
          <p:nvPr userDrawn="1"/>
        </p:nvGrpSpPr>
        <p:grpSpPr>
          <a:xfrm>
            <a:off x="13205410" y="4993182"/>
            <a:ext cx="122149" cy="2257231"/>
            <a:chOff x="11979436" y="4529724"/>
            <a:chExt cx="110809" cy="204771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7B31061-A44E-4C9C-B07F-D8CDA855BC79}"/>
                </a:ext>
              </a:extLst>
            </p:cNvPr>
            <p:cNvGrpSpPr/>
            <p:nvPr userDrawn="1"/>
          </p:nvGrpSpPr>
          <p:grpSpPr>
            <a:xfrm>
              <a:off x="11998460" y="6135518"/>
              <a:ext cx="68500" cy="441924"/>
              <a:chOff x="11998459" y="6162188"/>
              <a:chExt cx="68500" cy="441924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8093E00-38A0-4CF7-8C69-DC28CFFA7EF3}"/>
                  </a:ext>
                </a:extLst>
              </p:cNvPr>
              <p:cNvSpPr/>
              <p:nvPr/>
            </p:nvSpPr>
            <p:spPr>
              <a:xfrm rot="16200000">
                <a:off x="12063068" y="6476346"/>
                <a:ext cx="17" cy="1717"/>
              </a:xfrm>
              <a:custGeom>
                <a:avLst/>
                <a:gdLst>
                  <a:gd name="connsiteX0" fmla="*/ 0 w 17"/>
                  <a:gd name="connsiteY0" fmla="*/ 0 h 1717"/>
                  <a:gd name="connsiteX1" fmla="*/ 17 w 17"/>
                  <a:gd name="connsiteY1" fmla="*/ 0 h 1717"/>
                  <a:gd name="connsiteX2" fmla="*/ 17 w 17"/>
                  <a:gd name="connsiteY2" fmla="*/ 0 h 1717"/>
                  <a:gd name="connsiteX3" fmla="*/ 0 w 17"/>
                  <a:gd name="connsiteY3" fmla="*/ 0 h 1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" h="1717">
                    <a:moveTo>
                      <a:pt x="0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883A998E-3729-4FC5-A5CC-4DC84AB76CC9}"/>
                  </a:ext>
                </a:extLst>
              </p:cNvPr>
              <p:cNvSpPr/>
              <p:nvPr/>
            </p:nvSpPr>
            <p:spPr>
              <a:xfrm rot="16200000">
                <a:off x="12023737" y="6455896"/>
                <a:ext cx="453" cy="271"/>
              </a:xfrm>
              <a:custGeom>
                <a:avLst/>
                <a:gdLst>
                  <a:gd name="connsiteX0" fmla="*/ 0 w 453"/>
                  <a:gd name="connsiteY0" fmla="*/ 0 h 271"/>
                  <a:gd name="connsiteX1" fmla="*/ 447 w 453"/>
                  <a:gd name="connsiteY1" fmla="*/ 240 h 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3" h="271">
                    <a:moveTo>
                      <a:pt x="0" y="0"/>
                    </a:moveTo>
                    <a:cubicBezTo>
                      <a:pt x="258" y="172"/>
                      <a:pt x="498" y="344"/>
                      <a:pt x="447" y="24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F98D7A59-77C4-4FFE-B4BC-D6D2E508A277}"/>
                  </a:ext>
                </a:extLst>
              </p:cNvPr>
              <p:cNvSpPr/>
              <p:nvPr/>
            </p:nvSpPr>
            <p:spPr>
              <a:xfrm rot="16200000">
                <a:off x="12023907" y="6477766"/>
                <a:ext cx="15" cy="76"/>
              </a:xfrm>
              <a:custGeom>
                <a:avLst/>
                <a:gdLst>
                  <a:gd name="connsiteX0" fmla="*/ 15 w 15"/>
                  <a:gd name="connsiteY0" fmla="*/ 38 h 76"/>
                  <a:gd name="connsiteX1" fmla="*/ 15 w 15"/>
                  <a:gd name="connsiteY1" fmla="*/ 38 h 76"/>
                  <a:gd name="connsiteX2" fmla="*/ 15 w 15"/>
                  <a:gd name="connsiteY2" fmla="*/ 38 h 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" h="76">
                    <a:moveTo>
                      <a:pt x="15" y="38"/>
                    </a:moveTo>
                    <a:cubicBezTo>
                      <a:pt x="15" y="38"/>
                      <a:pt x="15" y="-48"/>
                      <a:pt x="15" y="38"/>
                    </a:cubicBezTo>
                    <a:cubicBezTo>
                      <a:pt x="15" y="124"/>
                      <a:pt x="-19" y="38"/>
                      <a:pt x="15" y="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E72B593-8E78-4A4E-8039-9E8AB005B734}"/>
                  </a:ext>
                </a:extLst>
              </p:cNvPr>
              <p:cNvSpPr/>
              <p:nvPr/>
            </p:nvSpPr>
            <p:spPr>
              <a:xfrm rot="16200000">
                <a:off x="12021636" y="6473651"/>
                <a:ext cx="261" cy="103"/>
              </a:xfrm>
              <a:custGeom>
                <a:avLst/>
                <a:gdLst>
                  <a:gd name="connsiteX0" fmla="*/ 262 w 261"/>
                  <a:gd name="connsiteY0" fmla="*/ 0 h 103"/>
                  <a:gd name="connsiteX1" fmla="*/ 56 w 261"/>
                  <a:gd name="connsiteY1" fmla="*/ 103 h 103"/>
                  <a:gd name="connsiteX2" fmla="*/ 56 w 261"/>
                  <a:gd name="connsiteY2" fmla="*/ 103 h 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" h="103">
                    <a:moveTo>
                      <a:pt x="262" y="0"/>
                    </a:moveTo>
                    <a:lnTo>
                      <a:pt x="56" y="103"/>
                    </a:lnTo>
                    <a:cubicBezTo>
                      <a:pt x="176" y="103"/>
                      <a:pt x="-116" y="103"/>
                      <a:pt x="56" y="103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533BC9DA-DBAA-429C-9B2D-F5DE885FFA1A}"/>
                  </a:ext>
                </a:extLst>
              </p:cNvPr>
              <p:cNvSpPr/>
              <p:nvPr/>
            </p:nvSpPr>
            <p:spPr>
              <a:xfrm rot="16200000">
                <a:off x="12015635" y="6442208"/>
                <a:ext cx="51323" cy="51323"/>
              </a:xfrm>
              <a:custGeom>
                <a:avLst/>
                <a:gdLst>
                  <a:gd name="connsiteX0" fmla="*/ 25662 w 51323"/>
                  <a:gd name="connsiteY0" fmla="*/ 0 h 51323"/>
                  <a:gd name="connsiteX1" fmla="*/ 0 w 51323"/>
                  <a:gd name="connsiteY1" fmla="*/ 25662 h 51323"/>
                  <a:gd name="connsiteX2" fmla="*/ 25662 w 51323"/>
                  <a:gd name="connsiteY2" fmla="*/ 51323 h 51323"/>
                  <a:gd name="connsiteX3" fmla="*/ 51324 w 51323"/>
                  <a:gd name="connsiteY3" fmla="*/ 25662 h 51323"/>
                  <a:gd name="connsiteX4" fmla="*/ 51324 w 51323"/>
                  <a:gd name="connsiteY4" fmla="*/ 25610 h 51323"/>
                  <a:gd name="connsiteX5" fmla="*/ 25679 w 51323"/>
                  <a:gd name="connsiteY5" fmla="*/ 0 h 51323"/>
                  <a:gd name="connsiteX6" fmla="*/ 25662 w 51323"/>
                  <a:gd name="connsiteY6" fmla="*/ 0 h 51323"/>
                  <a:gd name="connsiteX7" fmla="*/ 26967 w 51323"/>
                  <a:gd name="connsiteY7" fmla="*/ 15648 h 51323"/>
                  <a:gd name="connsiteX8" fmla="*/ 26967 w 51323"/>
                  <a:gd name="connsiteY8" fmla="*/ 15837 h 51323"/>
                  <a:gd name="connsiteX9" fmla="*/ 26744 w 51323"/>
                  <a:gd name="connsiteY9" fmla="*/ 15837 h 51323"/>
                  <a:gd name="connsiteX10" fmla="*/ 26933 w 51323"/>
                  <a:gd name="connsiteY10" fmla="*/ 16163 h 51323"/>
                  <a:gd name="connsiteX11" fmla="*/ 27036 w 51323"/>
                  <a:gd name="connsiteY11" fmla="*/ 16163 h 51323"/>
                  <a:gd name="connsiteX12" fmla="*/ 27294 w 51323"/>
                  <a:gd name="connsiteY12" fmla="*/ 16489 h 51323"/>
                  <a:gd name="connsiteX13" fmla="*/ 27294 w 51323"/>
                  <a:gd name="connsiteY13" fmla="*/ 16489 h 51323"/>
                  <a:gd name="connsiteX14" fmla="*/ 27294 w 51323"/>
                  <a:gd name="connsiteY14" fmla="*/ 16489 h 51323"/>
                  <a:gd name="connsiteX15" fmla="*/ 27294 w 51323"/>
                  <a:gd name="connsiteY15" fmla="*/ 16489 h 51323"/>
                  <a:gd name="connsiteX16" fmla="*/ 27156 w 51323"/>
                  <a:gd name="connsiteY16" fmla="*/ 16489 h 51323"/>
                  <a:gd name="connsiteX17" fmla="*/ 27156 w 51323"/>
                  <a:gd name="connsiteY17" fmla="*/ 16593 h 51323"/>
                  <a:gd name="connsiteX18" fmla="*/ 27156 w 51323"/>
                  <a:gd name="connsiteY18" fmla="*/ 16593 h 51323"/>
                  <a:gd name="connsiteX19" fmla="*/ 27379 w 51323"/>
                  <a:gd name="connsiteY19" fmla="*/ 16593 h 51323"/>
                  <a:gd name="connsiteX20" fmla="*/ 27276 w 51323"/>
                  <a:gd name="connsiteY20" fmla="*/ 16799 h 51323"/>
                  <a:gd name="connsiteX21" fmla="*/ 26744 w 51323"/>
                  <a:gd name="connsiteY21" fmla="*/ 16799 h 51323"/>
                  <a:gd name="connsiteX22" fmla="*/ 26074 w 51323"/>
                  <a:gd name="connsiteY22" fmla="*/ 16902 h 51323"/>
                  <a:gd name="connsiteX23" fmla="*/ 25868 w 51323"/>
                  <a:gd name="connsiteY23" fmla="*/ 16988 h 51323"/>
                  <a:gd name="connsiteX24" fmla="*/ 25559 w 51323"/>
                  <a:gd name="connsiteY24" fmla="*/ 17142 h 51323"/>
                  <a:gd name="connsiteX25" fmla="*/ 25404 w 51323"/>
                  <a:gd name="connsiteY25" fmla="*/ 17142 h 51323"/>
                  <a:gd name="connsiteX26" fmla="*/ 25816 w 51323"/>
                  <a:gd name="connsiteY26" fmla="*/ 16764 h 51323"/>
                  <a:gd name="connsiteX27" fmla="*/ 26194 w 51323"/>
                  <a:gd name="connsiteY27" fmla="*/ 16764 h 51323"/>
                  <a:gd name="connsiteX28" fmla="*/ 26349 w 51323"/>
                  <a:gd name="connsiteY28" fmla="*/ 16541 h 51323"/>
                  <a:gd name="connsiteX29" fmla="*/ 26005 w 51323"/>
                  <a:gd name="connsiteY29" fmla="*/ 16627 h 51323"/>
                  <a:gd name="connsiteX30" fmla="*/ 25902 w 51323"/>
                  <a:gd name="connsiteY30" fmla="*/ 16627 h 51323"/>
                  <a:gd name="connsiteX31" fmla="*/ 25662 w 51323"/>
                  <a:gd name="connsiteY31" fmla="*/ 16627 h 51323"/>
                  <a:gd name="connsiteX32" fmla="*/ 25662 w 51323"/>
                  <a:gd name="connsiteY32" fmla="*/ 16627 h 51323"/>
                  <a:gd name="connsiteX33" fmla="*/ 25662 w 51323"/>
                  <a:gd name="connsiteY33" fmla="*/ 16627 h 51323"/>
                  <a:gd name="connsiteX34" fmla="*/ 26005 w 51323"/>
                  <a:gd name="connsiteY34" fmla="*/ 16215 h 51323"/>
                  <a:gd name="connsiteX35" fmla="*/ 25834 w 51323"/>
                  <a:gd name="connsiteY35" fmla="*/ 16215 h 51323"/>
                  <a:gd name="connsiteX36" fmla="*/ 26297 w 51323"/>
                  <a:gd name="connsiteY36" fmla="*/ 16060 h 51323"/>
                  <a:gd name="connsiteX37" fmla="*/ 26297 w 51323"/>
                  <a:gd name="connsiteY37" fmla="*/ 16060 h 51323"/>
                  <a:gd name="connsiteX38" fmla="*/ 26297 w 51323"/>
                  <a:gd name="connsiteY38" fmla="*/ 15785 h 51323"/>
                  <a:gd name="connsiteX39" fmla="*/ 26194 w 51323"/>
                  <a:gd name="connsiteY39" fmla="*/ 15785 h 51323"/>
                  <a:gd name="connsiteX40" fmla="*/ 26194 w 51323"/>
                  <a:gd name="connsiteY40" fmla="*/ 15785 h 51323"/>
                  <a:gd name="connsiteX41" fmla="*/ 26194 w 51323"/>
                  <a:gd name="connsiteY41" fmla="*/ 15493 h 51323"/>
                  <a:gd name="connsiteX42" fmla="*/ 25834 w 51323"/>
                  <a:gd name="connsiteY42" fmla="*/ 15493 h 51323"/>
                  <a:gd name="connsiteX43" fmla="*/ 25834 w 51323"/>
                  <a:gd name="connsiteY43" fmla="*/ 15596 h 51323"/>
                  <a:gd name="connsiteX44" fmla="*/ 25713 w 51323"/>
                  <a:gd name="connsiteY44" fmla="*/ 15596 h 51323"/>
                  <a:gd name="connsiteX45" fmla="*/ 25713 w 51323"/>
                  <a:gd name="connsiteY45" fmla="*/ 15459 h 51323"/>
                  <a:gd name="connsiteX46" fmla="*/ 25713 w 51323"/>
                  <a:gd name="connsiteY46" fmla="*/ 15459 h 51323"/>
                  <a:gd name="connsiteX47" fmla="*/ 25816 w 51323"/>
                  <a:gd name="connsiteY47" fmla="*/ 15236 h 51323"/>
                  <a:gd name="connsiteX48" fmla="*/ 25816 w 51323"/>
                  <a:gd name="connsiteY48" fmla="*/ 15064 h 51323"/>
                  <a:gd name="connsiteX49" fmla="*/ 25816 w 51323"/>
                  <a:gd name="connsiteY49" fmla="*/ 14961 h 51323"/>
                  <a:gd name="connsiteX50" fmla="*/ 25816 w 51323"/>
                  <a:gd name="connsiteY50" fmla="*/ 15081 h 51323"/>
                  <a:gd name="connsiteX51" fmla="*/ 25816 w 51323"/>
                  <a:gd name="connsiteY51" fmla="*/ 15081 h 51323"/>
                  <a:gd name="connsiteX52" fmla="*/ 25816 w 51323"/>
                  <a:gd name="connsiteY52" fmla="*/ 15081 h 51323"/>
                  <a:gd name="connsiteX53" fmla="*/ 25816 w 51323"/>
                  <a:gd name="connsiteY53" fmla="*/ 15081 h 51323"/>
                  <a:gd name="connsiteX54" fmla="*/ 25816 w 51323"/>
                  <a:gd name="connsiteY54" fmla="*/ 15356 h 51323"/>
                  <a:gd name="connsiteX55" fmla="*/ 25816 w 51323"/>
                  <a:gd name="connsiteY55" fmla="*/ 15167 h 51323"/>
                  <a:gd name="connsiteX56" fmla="*/ 25919 w 51323"/>
                  <a:gd name="connsiteY56" fmla="*/ 14823 h 51323"/>
                  <a:gd name="connsiteX57" fmla="*/ 25919 w 51323"/>
                  <a:gd name="connsiteY57" fmla="*/ 14823 h 51323"/>
                  <a:gd name="connsiteX58" fmla="*/ 25731 w 51323"/>
                  <a:gd name="connsiteY58" fmla="*/ 14823 h 51323"/>
                  <a:gd name="connsiteX59" fmla="*/ 25731 w 51323"/>
                  <a:gd name="connsiteY59" fmla="*/ 14823 h 51323"/>
                  <a:gd name="connsiteX60" fmla="*/ 25868 w 51323"/>
                  <a:gd name="connsiteY60" fmla="*/ 14737 h 51323"/>
                  <a:gd name="connsiteX61" fmla="*/ 25868 w 51323"/>
                  <a:gd name="connsiteY61" fmla="*/ 14737 h 51323"/>
                  <a:gd name="connsiteX62" fmla="*/ 25868 w 51323"/>
                  <a:gd name="connsiteY62" fmla="*/ 14737 h 51323"/>
                  <a:gd name="connsiteX63" fmla="*/ 25868 w 51323"/>
                  <a:gd name="connsiteY63" fmla="*/ 14737 h 51323"/>
                  <a:gd name="connsiteX64" fmla="*/ 25868 w 51323"/>
                  <a:gd name="connsiteY64" fmla="*/ 14737 h 51323"/>
                  <a:gd name="connsiteX65" fmla="*/ 25868 w 51323"/>
                  <a:gd name="connsiteY65" fmla="*/ 14737 h 51323"/>
                  <a:gd name="connsiteX66" fmla="*/ 25868 w 51323"/>
                  <a:gd name="connsiteY66" fmla="*/ 14652 h 51323"/>
                  <a:gd name="connsiteX67" fmla="*/ 25868 w 51323"/>
                  <a:gd name="connsiteY67" fmla="*/ 14652 h 51323"/>
                  <a:gd name="connsiteX68" fmla="*/ 25868 w 51323"/>
                  <a:gd name="connsiteY68" fmla="*/ 14514 h 51323"/>
                  <a:gd name="connsiteX69" fmla="*/ 25868 w 51323"/>
                  <a:gd name="connsiteY69" fmla="*/ 14514 h 51323"/>
                  <a:gd name="connsiteX70" fmla="*/ 25868 w 51323"/>
                  <a:gd name="connsiteY70" fmla="*/ 14514 h 51323"/>
                  <a:gd name="connsiteX71" fmla="*/ 25971 w 51323"/>
                  <a:gd name="connsiteY71" fmla="*/ 14514 h 51323"/>
                  <a:gd name="connsiteX72" fmla="*/ 25971 w 51323"/>
                  <a:gd name="connsiteY72" fmla="*/ 14428 h 51323"/>
                  <a:gd name="connsiteX73" fmla="*/ 26126 w 51323"/>
                  <a:gd name="connsiteY73" fmla="*/ 14291 h 51323"/>
                  <a:gd name="connsiteX74" fmla="*/ 26126 w 51323"/>
                  <a:gd name="connsiteY74" fmla="*/ 14291 h 51323"/>
                  <a:gd name="connsiteX75" fmla="*/ 26126 w 51323"/>
                  <a:gd name="connsiteY75" fmla="*/ 14531 h 51323"/>
                  <a:gd name="connsiteX76" fmla="*/ 26126 w 51323"/>
                  <a:gd name="connsiteY76" fmla="*/ 14531 h 51323"/>
                  <a:gd name="connsiteX77" fmla="*/ 26486 w 51323"/>
                  <a:gd name="connsiteY77" fmla="*/ 14531 h 51323"/>
                  <a:gd name="connsiteX78" fmla="*/ 26263 w 51323"/>
                  <a:gd name="connsiteY78" fmla="*/ 14995 h 51323"/>
                  <a:gd name="connsiteX79" fmla="*/ 26263 w 51323"/>
                  <a:gd name="connsiteY79" fmla="*/ 14995 h 51323"/>
                  <a:gd name="connsiteX80" fmla="*/ 26005 w 51323"/>
                  <a:gd name="connsiteY80" fmla="*/ 14995 h 51323"/>
                  <a:gd name="connsiteX81" fmla="*/ 26224 w 51323"/>
                  <a:gd name="connsiteY81" fmla="*/ 15000 h 51323"/>
                  <a:gd name="connsiteX82" fmla="*/ 26229 w 51323"/>
                  <a:gd name="connsiteY82" fmla="*/ 14995 h 51323"/>
                  <a:gd name="connsiteX83" fmla="*/ 26589 w 51323"/>
                  <a:gd name="connsiteY83" fmla="*/ 15579 h 51323"/>
                  <a:gd name="connsiteX84" fmla="*/ 26967 w 51323"/>
                  <a:gd name="connsiteY84" fmla="*/ 15613 h 51323"/>
                  <a:gd name="connsiteX85" fmla="*/ 18138 w 51323"/>
                  <a:gd name="connsiteY85" fmla="*/ 47476 h 51323"/>
                  <a:gd name="connsiteX86" fmla="*/ 18138 w 51323"/>
                  <a:gd name="connsiteY86" fmla="*/ 47476 h 51323"/>
                  <a:gd name="connsiteX87" fmla="*/ 18138 w 51323"/>
                  <a:gd name="connsiteY87" fmla="*/ 47476 h 51323"/>
                  <a:gd name="connsiteX88" fmla="*/ 18138 w 51323"/>
                  <a:gd name="connsiteY88" fmla="*/ 47476 h 51323"/>
                  <a:gd name="connsiteX89" fmla="*/ 18224 w 51323"/>
                  <a:gd name="connsiteY89" fmla="*/ 47476 h 51323"/>
                  <a:gd name="connsiteX90" fmla="*/ 18224 w 51323"/>
                  <a:gd name="connsiteY90" fmla="*/ 47476 h 51323"/>
                  <a:gd name="connsiteX91" fmla="*/ 17984 w 51323"/>
                  <a:gd name="connsiteY91" fmla="*/ 47338 h 51323"/>
                  <a:gd name="connsiteX92" fmla="*/ 17984 w 51323"/>
                  <a:gd name="connsiteY92" fmla="*/ 47338 h 51323"/>
                  <a:gd name="connsiteX93" fmla="*/ 17984 w 51323"/>
                  <a:gd name="connsiteY93" fmla="*/ 47338 h 51323"/>
                  <a:gd name="connsiteX94" fmla="*/ 18070 w 51323"/>
                  <a:gd name="connsiteY94" fmla="*/ 47338 h 51323"/>
                  <a:gd name="connsiteX95" fmla="*/ 18070 w 51323"/>
                  <a:gd name="connsiteY95" fmla="*/ 47338 h 51323"/>
                  <a:gd name="connsiteX96" fmla="*/ 18070 w 51323"/>
                  <a:gd name="connsiteY96" fmla="*/ 47338 h 51323"/>
                  <a:gd name="connsiteX97" fmla="*/ 17795 w 51323"/>
                  <a:gd name="connsiteY97" fmla="*/ 47218 h 51323"/>
                  <a:gd name="connsiteX98" fmla="*/ 17795 w 51323"/>
                  <a:gd name="connsiteY98" fmla="*/ 47218 h 51323"/>
                  <a:gd name="connsiteX99" fmla="*/ 17795 w 51323"/>
                  <a:gd name="connsiteY99" fmla="*/ 47218 h 51323"/>
                  <a:gd name="connsiteX100" fmla="*/ 17692 w 51323"/>
                  <a:gd name="connsiteY100" fmla="*/ 47218 h 51323"/>
                  <a:gd name="connsiteX101" fmla="*/ 17692 w 51323"/>
                  <a:gd name="connsiteY101" fmla="*/ 47218 h 51323"/>
                  <a:gd name="connsiteX102" fmla="*/ 17692 w 51323"/>
                  <a:gd name="connsiteY102" fmla="*/ 47218 h 51323"/>
                  <a:gd name="connsiteX103" fmla="*/ 17692 w 51323"/>
                  <a:gd name="connsiteY103" fmla="*/ 47218 h 51323"/>
                  <a:gd name="connsiteX104" fmla="*/ 17864 w 51323"/>
                  <a:gd name="connsiteY104" fmla="*/ 47218 h 51323"/>
                  <a:gd name="connsiteX105" fmla="*/ 17658 w 51323"/>
                  <a:gd name="connsiteY105" fmla="*/ 47218 h 51323"/>
                  <a:gd name="connsiteX106" fmla="*/ 17658 w 51323"/>
                  <a:gd name="connsiteY106" fmla="*/ 47218 h 51323"/>
                  <a:gd name="connsiteX107" fmla="*/ 17417 w 51323"/>
                  <a:gd name="connsiteY107" fmla="*/ 47115 h 51323"/>
                  <a:gd name="connsiteX108" fmla="*/ 17417 w 51323"/>
                  <a:gd name="connsiteY108" fmla="*/ 47115 h 51323"/>
                  <a:gd name="connsiteX109" fmla="*/ 17417 w 51323"/>
                  <a:gd name="connsiteY109" fmla="*/ 47115 h 51323"/>
                  <a:gd name="connsiteX110" fmla="*/ 17280 w 51323"/>
                  <a:gd name="connsiteY110" fmla="*/ 47115 h 51323"/>
                  <a:gd name="connsiteX111" fmla="*/ 17469 w 51323"/>
                  <a:gd name="connsiteY111" fmla="*/ 47218 h 51323"/>
                  <a:gd name="connsiteX112" fmla="*/ 17194 w 51323"/>
                  <a:gd name="connsiteY112" fmla="*/ 47081 h 51323"/>
                  <a:gd name="connsiteX113" fmla="*/ 17194 w 51323"/>
                  <a:gd name="connsiteY113" fmla="*/ 47081 h 51323"/>
                  <a:gd name="connsiteX114" fmla="*/ 17366 w 51323"/>
                  <a:gd name="connsiteY114" fmla="*/ 47081 h 51323"/>
                  <a:gd name="connsiteX115" fmla="*/ 17228 w 51323"/>
                  <a:gd name="connsiteY115" fmla="*/ 47081 h 51323"/>
                  <a:gd name="connsiteX116" fmla="*/ 17366 w 51323"/>
                  <a:gd name="connsiteY116" fmla="*/ 47081 h 51323"/>
                  <a:gd name="connsiteX117" fmla="*/ 17108 w 51323"/>
                  <a:gd name="connsiteY117" fmla="*/ 46961 h 51323"/>
                  <a:gd name="connsiteX118" fmla="*/ 17108 w 51323"/>
                  <a:gd name="connsiteY118" fmla="*/ 46961 h 51323"/>
                  <a:gd name="connsiteX119" fmla="*/ 17005 w 51323"/>
                  <a:gd name="connsiteY119" fmla="*/ 46961 h 51323"/>
                  <a:gd name="connsiteX120" fmla="*/ 17005 w 51323"/>
                  <a:gd name="connsiteY120" fmla="*/ 46961 h 51323"/>
                  <a:gd name="connsiteX121" fmla="*/ 16782 w 51323"/>
                  <a:gd name="connsiteY121" fmla="*/ 46858 h 51323"/>
                  <a:gd name="connsiteX122" fmla="*/ 16782 w 51323"/>
                  <a:gd name="connsiteY122" fmla="*/ 46858 h 51323"/>
                  <a:gd name="connsiteX123" fmla="*/ 16696 w 51323"/>
                  <a:gd name="connsiteY123" fmla="*/ 46858 h 51323"/>
                  <a:gd name="connsiteX124" fmla="*/ 16696 w 51323"/>
                  <a:gd name="connsiteY124" fmla="*/ 46858 h 51323"/>
                  <a:gd name="connsiteX125" fmla="*/ 16301 w 51323"/>
                  <a:gd name="connsiteY125" fmla="*/ 46651 h 51323"/>
                  <a:gd name="connsiteX126" fmla="*/ 16301 w 51323"/>
                  <a:gd name="connsiteY126" fmla="*/ 46651 h 51323"/>
                  <a:gd name="connsiteX127" fmla="*/ 16129 w 51323"/>
                  <a:gd name="connsiteY127" fmla="*/ 46548 h 51323"/>
                  <a:gd name="connsiteX128" fmla="*/ 16283 w 51323"/>
                  <a:gd name="connsiteY128" fmla="*/ 46651 h 51323"/>
                  <a:gd name="connsiteX129" fmla="*/ 15940 w 51323"/>
                  <a:gd name="connsiteY129" fmla="*/ 46462 h 51323"/>
                  <a:gd name="connsiteX130" fmla="*/ 15940 w 51323"/>
                  <a:gd name="connsiteY130" fmla="*/ 46462 h 51323"/>
                  <a:gd name="connsiteX131" fmla="*/ 15837 w 51323"/>
                  <a:gd name="connsiteY131" fmla="*/ 46462 h 51323"/>
                  <a:gd name="connsiteX132" fmla="*/ 15837 w 51323"/>
                  <a:gd name="connsiteY132" fmla="*/ 46462 h 51323"/>
                  <a:gd name="connsiteX133" fmla="*/ 15665 w 51323"/>
                  <a:gd name="connsiteY133" fmla="*/ 46359 h 51323"/>
                  <a:gd name="connsiteX134" fmla="*/ 15665 w 51323"/>
                  <a:gd name="connsiteY134" fmla="*/ 46359 h 51323"/>
                  <a:gd name="connsiteX135" fmla="*/ 15665 w 51323"/>
                  <a:gd name="connsiteY135" fmla="*/ 46359 h 51323"/>
                  <a:gd name="connsiteX136" fmla="*/ 15665 w 51323"/>
                  <a:gd name="connsiteY136" fmla="*/ 46359 h 51323"/>
                  <a:gd name="connsiteX137" fmla="*/ 15510 w 51323"/>
                  <a:gd name="connsiteY137" fmla="*/ 46274 h 51323"/>
                  <a:gd name="connsiteX138" fmla="*/ 15510 w 51323"/>
                  <a:gd name="connsiteY138" fmla="*/ 46274 h 51323"/>
                  <a:gd name="connsiteX139" fmla="*/ 15339 w 51323"/>
                  <a:gd name="connsiteY139" fmla="*/ 46153 h 51323"/>
                  <a:gd name="connsiteX140" fmla="*/ 15339 w 51323"/>
                  <a:gd name="connsiteY140" fmla="*/ 46153 h 51323"/>
                  <a:gd name="connsiteX141" fmla="*/ 15201 w 51323"/>
                  <a:gd name="connsiteY141" fmla="*/ 46153 h 51323"/>
                  <a:gd name="connsiteX142" fmla="*/ 15201 w 51323"/>
                  <a:gd name="connsiteY142" fmla="*/ 46153 h 51323"/>
                  <a:gd name="connsiteX143" fmla="*/ 15081 w 51323"/>
                  <a:gd name="connsiteY143" fmla="*/ 46153 h 51323"/>
                  <a:gd name="connsiteX144" fmla="*/ 15081 w 51323"/>
                  <a:gd name="connsiteY144" fmla="*/ 46153 h 51323"/>
                  <a:gd name="connsiteX145" fmla="*/ 15218 w 51323"/>
                  <a:gd name="connsiteY145" fmla="*/ 46239 h 51323"/>
                  <a:gd name="connsiteX146" fmla="*/ 15081 w 51323"/>
                  <a:gd name="connsiteY146" fmla="*/ 46153 h 51323"/>
                  <a:gd name="connsiteX147" fmla="*/ 15081 w 51323"/>
                  <a:gd name="connsiteY147" fmla="*/ 46153 h 51323"/>
                  <a:gd name="connsiteX148" fmla="*/ 14961 w 51323"/>
                  <a:gd name="connsiteY148" fmla="*/ 46153 h 51323"/>
                  <a:gd name="connsiteX149" fmla="*/ 14961 w 51323"/>
                  <a:gd name="connsiteY149" fmla="*/ 46153 h 51323"/>
                  <a:gd name="connsiteX150" fmla="*/ 14823 w 51323"/>
                  <a:gd name="connsiteY150" fmla="*/ 46067 h 51323"/>
                  <a:gd name="connsiteX151" fmla="*/ 15012 w 51323"/>
                  <a:gd name="connsiteY151" fmla="*/ 46170 h 51323"/>
                  <a:gd name="connsiteX152" fmla="*/ 15184 w 51323"/>
                  <a:gd name="connsiteY152" fmla="*/ 46274 h 51323"/>
                  <a:gd name="connsiteX153" fmla="*/ 14720 w 51323"/>
                  <a:gd name="connsiteY153" fmla="*/ 45947 h 51323"/>
                  <a:gd name="connsiteX154" fmla="*/ 14720 w 51323"/>
                  <a:gd name="connsiteY154" fmla="*/ 45947 h 51323"/>
                  <a:gd name="connsiteX155" fmla="*/ 13879 w 51323"/>
                  <a:gd name="connsiteY155" fmla="*/ 45312 h 51323"/>
                  <a:gd name="connsiteX156" fmla="*/ 13982 w 51323"/>
                  <a:gd name="connsiteY156" fmla="*/ 45312 h 51323"/>
                  <a:gd name="connsiteX157" fmla="*/ 13827 w 51323"/>
                  <a:gd name="connsiteY157" fmla="*/ 45191 h 51323"/>
                  <a:gd name="connsiteX158" fmla="*/ 13827 w 51323"/>
                  <a:gd name="connsiteY158" fmla="*/ 45191 h 51323"/>
                  <a:gd name="connsiteX159" fmla="*/ 13724 w 51323"/>
                  <a:gd name="connsiteY159" fmla="*/ 45191 h 51323"/>
                  <a:gd name="connsiteX160" fmla="*/ 13724 w 51323"/>
                  <a:gd name="connsiteY160" fmla="*/ 45191 h 51323"/>
                  <a:gd name="connsiteX161" fmla="*/ 13724 w 51323"/>
                  <a:gd name="connsiteY161" fmla="*/ 45191 h 51323"/>
                  <a:gd name="connsiteX162" fmla="*/ 13724 w 51323"/>
                  <a:gd name="connsiteY162" fmla="*/ 45191 h 51323"/>
                  <a:gd name="connsiteX163" fmla="*/ 13106 w 51323"/>
                  <a:gd name="connsiteY163" fmla="*/ 44710 h 51323"/>
                  <a:gd name="connsiteX164" fmla="*/ 13106 w 51323"/>
                  <a:gd name="connsiteY164" fmla="*/ 44710 h 51323"/>
                  <a:gd name="connsiteX165" fmla="*/ 12316 w 51323"/>
                  <a:gd name="connsiteY165" fmla="*/ 44023 h 51323"/>
                  <a:gd name="connsiteX166" fmla="*/ 12316 w 51323"/>
                  <a:gd name="connsiteY166" fmla="*/ 44023 h 51323"/>
                  <a:gd name="connsiteX167" fmla="*/ 9567 w 51323"/>
                  <a:gd name="connsiteY167" fmla="*/ 40434 h 51323"/>
                  <a:gd name="connsiteX168" fmla="*/ 9567 w 51323"/>
                  <a:gd name="connsiteY168" fmla="*/ 40434 h 51323"/>
                  <a:gd name="connsiteX169" fmla="*/ 8021 w 51323"/>
                  <a:gd name="connsiteY169" fmla="*/ 37788 h 51323"/>
                  <a:gd name="connsiteX170" fmla="*/ 8021 w 51323"/>
                  <a:gd name="connsiteY170" fmla="*/ 37788 h 51323"/>
                  <a:gd name="connsiteX171" fmla="*/ 5840 w 51323"/>
                  <a:gd name="connsiteY171" fmla="*/ 33494 h 51323"/>
                  <a:gd name="connsiteX172" fmla="*/ 5840 w 51323"/>
                  <a:gd name="connsiteY172" fmla="*/ 33580 h 51323"/>
                  <a:gd name="connsiteX173" fmla="*/ 5840 w 51323"/>
                  <a:gd name="connsiteY173" fmla="*/ 33477 h 51323"/>
                  <a:gd name="connsiteX174" fmla="*/ 5840 w 51323"/>
                  <a:gd name="connsiteY174" fmla="*/ 33614 h 51323"/>
                  <a:gd name="connsiteX175" fmla="*/ 5222 w 51323"/>
                  <a:gd name="connsiteY175" fmla="*/ 30299 h 51323"/>
                  <a:gd name="connsiteX176" fmla="*/ 5222 w 51323"/>
                  <a:gd name="connsiteY176" fmla="*/ 30042 h 51323"/>
                  <a:gd name="connsiteX177" fmla="*/ 5222 w 51323"/>
                  <a:gd name="connsiteY177" fmla="*/ 30128 h 51323"/>
                  <a:gd name="connsiteX178" fmla="*/ 5067 w 51323"/>
                  <a:gd name="connsiteY178" fmla="*/ 29784 h 51323"/>
                  <a:gd name="connsiteX179" fmla="*/ 5067 w 51323"/>
                  <a:gd name="connsiteY179" fmla="*/ 29784 h 51323"/>
                  <a:gd name="connsiteX180" fmla="*/ 5067 w 51323"/>
                  <a:gd name="connsiteY180" fmla="*/ 29784 h 51323"/>
                  <a:gd name="connsiteX181" fmla="*/ 5067 w 51323"/>
                  <a:gd name="connsiteY181" fmla="*/ 29544 h 51323"/>
                  <a:gd name="connsiteX182" fmla="*/ 5067 w 51323"/>
                  <a:gd name="connsiteY182" fmla="*/ 29715 h 51323"/>
                  <a:gd name="connsiteX183" fmla="*/ 4844 w 51323"/>
                  <a:gd name="connsiteY183" fmla="*/ 28908 h 51323"/>
                  <a:gd name="connsiteX184" fmla="*/ 4844 w 51323"/>
                  <a:gd name="connsiteY184" fmla="*/ 29183 h 51323"/>
                  <a:gd name="connsiteX185" fmla="*/ 4552 w 51323"/>
                  <a:gd name="connsiteY185" fmla="*/ 27843 h 51323"/>
                  <a:gd name="connsiteX186" fmla="*/ 4552 w 51323"/>
                  <a:gd name="connsiteY186" fmla="*/ 27740 h 51323"/>
                  <a:gd name="connsiteX187" fmla="*/ 4552 w 51323"/>
                  <a:gd name="connsiteY187" fmla="*/ 27740 h 51323"/>
                  <a:gd name="connsiteX188" fmla="*/ 4552 w 51323"/>
                  <a:gd name="connsiteY188" fmla="*/ 27740 h 51323"/>
                  <a:gd name="connsiteX189" fmla="*/ 4552 w 51323"/>
                  <a:gd name="connsiteY189" fmla="*/ 27740 h 51323"/>
                  <a:gd name="connsiteX190" fmla="*/ 4208 w 51323"/>
                  <a:gd name="connsiteY190" fmla="*/ 26297 h 51323"/>
                  <a:gd name="connsiteX191" fmla="*/ 4208 w 51323"/>
                  <a:gd name="connsiteY191" fmla="*/ 26503 h 51323"/>
                  <a:gd name="connsiteX192" fmla="*/ 4208 w 51323"/>
                  <a:gd name="connsiteY192" fmla="*/ 26297 h 51323"/>
                  <a:gd name="connsiteX193" fmla="*/ 4208 w 51323"/>
                  <a:gd name="connsiteY193" fmla="*/ 26297 h 51323"/>
                  <a:gd name="connsiteX194" fmla="*/ 4208 w 51323"/>
                  <a:gd name="connsiteY194" fmla="*/ 26297 h 51323"/>
                  <a:gd name="connsiteX195" fmla="*/ 4208 w 51323"/>
                  <a:gd name="connsiteY195" fmla="*/ 26297 h 51323"/>
                  <a:gd name="connsiteX196" fmla="*/ 4208 w 51323"/>
                  <a:gd name="connsiteY196" fmla="*/ 26297 h 51323"/>
                  <a:gd name="connsiteX197" fmla="*/ 4208 w 51323"/>
                  <a:gd name="connsiteY197" fmla="*/ 26400 h 51323"/>
                  <a:gd name="connsiteX198" fmla="*/ 4208 w 51323"/>
                  <a:gd name="connsiteY198" fmla="*/ 26400 h 51323"/>
                  <a:gd name="connsiteX199" fmla="*/ 4208 w 51323"/>
                  <a:gd name="connsiteY199" fmla="*/ 26400 h 51323"/>
                  <a:gd name="connsiteX200" fmla="*/ 4208 w 51323"/>
                  <a:gd name="connsiteY200" fmla="*/ 26400 h 51323"/>
                  <a:gd name="connsiteX201" fmla="*/ 4208 w 51323"/>
                  <a:gd name="connsiteY201" fmla="*/ 26091 h 51323"/>
                  <a:gd name="connsiteX202" fmla="*/ 4208 w 51323"/>
                  <a:gd name="connsiteY202" fmla="*/ 26091 h 51323"/>
                  <a:gd name="connsiteX203" fmla="*/ 4208 w 51323"/>
                  <a:gd name="connsiteY203" fmla="*/ 25919 h 51323"/>
                  <a:gd name="connsiteX204" fmla="*/ 4208 w 51323"/>
                  <a:gd name="connsiteY204" fmla="*/ 25919 h 51323"/>
                  <a:gd name="connsiteX205" fmla="*/ 4208 w 51323"/>
                  <a:gd name="connsiteY205" fmla="*/ 25198 h 51323"/>
                  <a:gd name="connsiteX206" fmla="*/ 4208 w 51323"/>
                  <a:gd name="connsiteY206" fmla="*/ 25198 h 51323"/>
                  <a:gd name="connsiteX207" fmla="*/ 4208 w 51323"/>
                  <a:gd name="connsiteY207" fmla="*/ 25078 h 51323"/>
                  <a:gd name="connsiteX208" fmla="*/ 4208 w 51323"/>
                  <a:gd name="connsiteY208" fmla="*/ 25078 h 51323"/>
                  <a:gd name="connsiteX209" fmla="*/ 19787 w 51323"/>
                  <a:gd name="connsiteY209" fmla="*/ 4706 h 51323"/>
                  <a:gd name="connsiteX210" fmla="*/ 19787 w 51323"/>
                  <a:gd name="connsiteY210" fmla="*/ 4706 h 51323"/>
                  <a:gd name="connsiteX211" fmla="*/ 19994 w 51323"/>
                  <a:gd name="connsiteY211" fmla="*/ 4706 h 51323"/>
                  <a:gd name="connsiteX212" fmla="*/ 19994 w 51323"/>
                  <a:gd name="connsiteY212" fmla="*/ 4706 h 51323"/>
                  <a:gd name="connsiteX213" fmla="*/ 20217 w 51323"/>
                  <a:gd name="connsiteY213" fmla="*/ 4706 h 51323"/>
                  <a:gd name="connsiteX214" fmla="*/ 20062 w 51323"/>
                  <a:gd name="connsiteY214" fmla="*/ 4706 h 51323"/>
                  <a:gd name="connsiteX215" fmla="*/ 20337 w 51323"/>
                  <a:gd name="connsiteY215" fmla="*/ 4706 h 51323"/>
                  <a:gd name="connsiteX216" fmla="*/ 20234 w 51323"/>
                  <a:gd name="connsiteY216" fmla="*/ 4706 h 51323"/>
                  <a:gd name="connsiteX217" fmla="*/ 20234 w 51323"/>
                  <a:gd name="connsiteY217" fmla="*/ 4706 h 51323"/>
                  <a:gd name="connsiteX218" fmla="*/ 20423 w 51323"/>
                  <a:gd name="connsiteY218" fmla="*/ 4706 h 51323"/>
                  <a:gd name="connsiteX219" fmla="*/ 20423 w 51323"/>
                  <a:gd name="connsiteY219" fmla="*/ 4706 h 51323"/>
                  <a:gd name="connsiteX220" fmla="*/ 21711 w 51323"/>
                  <a:gd name="connsiteY220" fmla="*/ 4414 h 51323"/>
                  <a:gd name="connsiteX221" fmla="*/ 21711 w 51323"/>
                  <a:gd name="connsiteY221" fmla="*/ 4414 h 51323"/>
                  <a:gd name="connsiteX222" fmla="*/ 22038 w 51323"/>
                  <a:gd name="connsiteY222" fmla="*/ 4414 h 51323"/>
                  <a:gd name="connsiteX223" fmla="*/ 21814 w 51323"/>
                  <a:gd name="connsiteY223" fmla="*/ 4414 h 51323"/>
                  <a:gd name="connsiteX224" fmla="*/ 21814 w 51323"/>
                  <a:gd name="connsiteY224" fmla="*/ 4414 h 51323"/>
                  <a:gd name="connsiteX225" fmla="*/ 22415 w 51323"/>
                  <a:gd name="connsiteY225" fmla="*/ 4414 h 51323"/>
                  <a:gd name="connsiteX226" fmla="*/ 22415 w 51323"/>
                  <a:gd name="connsiteY226" fmla="*/ 4414 h 51323"/>
                  <a:gd name="connsiteX227" fmla="*/ 22106 w 51323"/>
                  <a:gd name="connsiteY227" fmla="*/ 4414 h 51323"/>
                  <a:gd name="connsiteX228" fmla="*/ 22398 w 51323"/>
                  <a:gd name="connsiteY228" fmla="*/ 4414 h 51323"/>
                  <a:gd name="connsiteX229" fmla="*/ 22398 w 51323"/>
                  <a:gd name="connsiteY229" fmla="*/ 4414 h 51323"/>
                  <a:gd name="connsiteX230" fmla="*/ 22690 w 51323"/>
                  <a:gd name="connsiteY230" fmla="*/ 4414 h 51323"/>
                  <a:gd name="connsiteX231" fmla="*/ 22587 w 51323"/>
                  <a:gd name="connsiteY231" fmla="*/ 4414 h 51323"/>
                  <a:gd name="connsiteX232" fmla="*/ 22484 w 51323"/>
                  <a:gd name="connsiteY232" fmla="*/ 4414 h 51323"/>
                  <a:gd name="connsiteX233" fmla="*/ 22725 w 51323"/>
                  <a:gd name="connsiteY233" fmla="*/ 4414 h 51323"/>
                  <a:gd name="connsiteX234" fmla="*/ 22347 w 51323"/>
                  <a:gd name="connsiteY234" fmla="*/ 4414 h 51323"/>
                  <a:gd name="connsiteX235" fmla="*/ 22244 w 51323"/>
                  <a:gd name="connsiteY235" fmla="*/ 4414 h 51323"/>
                  <a:gd name="connsiteX236" fmla="*/ 22055 w 51323"/>
                  <a:gd name="connsiteY236" fmla="*/ 4414 h 51323"/>
                  <a:gd name="connsiteX237" fmla="*/ 22415 w 51323"/>
                  <a:gd name="connsiteY237" fmla="*/ 4414 h 51323"/>
                  <a:gd name="connsiteX238" fmla="*/ 22020 w 51323"/>
                  <a:gd name="connsiteY238" fmla="*/ 4414 h 51323"/>
                  <a:gd name="connsiteX239" fmla="*/ 22020 w 51323"/>
                  <a:gd name="connsiteY239" fmla="*/ 4414 h 51323"/>
                  <a:gd name="connsiteX240" fmla="*/ 21608 w 51323"/>
                  <a:gd name="connsiteY240" fmla="*/ 4414 h 51323"/>
                  <a:gd name="connsiteX241" fmla="*/ 21608 w 51323"/>
                  <a:gd name="connsiteY241" fmla="*/ 4414 h 51323"/>
                  <a:gd name="connsiteX242" fmla="*/ 21213 w 51323"/>
                  <a:gd name="connsiteY242" fmla="*/ 4500 h 51323"/>
                  <a:gd name="connsiteX243" fmla="*/ 21385 w 51323"/>
                  <a:gd name="connsiteY243" fmla="*/ 4500 h 51323"/>
                  <a:gd name="connsiteX244" fmla="*/ 21385 w 51323"/>
                  <a:gd name="connsiteY244" fmla="*/ 4500 h 51323"/>
                  <a:gd name="connsiteX245" fmla="*/ 20973 w 51323"/>
                  <a:gd name="connsiteY245" fmla="*/ 4586 h 51323"/>
                  <a:gd name="connsiteX246" fmla="*/ 21144 w 51323"/>
                  <a:gd name="connsiteY246" fmla="*/ 4586 h 51323"/>
                  <a:gd name="connsiteX247" fmla="*/ 20955 w 51323"/>
                  <a:gd name="connsiteY247" fmla="*/ 4586 h 51323"/>
                  <a:gd name="connsiteX248" fmla="*/ 20955 w 51323"/>
                  <a:gd name="connsiteY248" fmla="*/ 4586 h 51323"/>
                  <a:gd name="connsiteX249" fmla="*/ 20835 w 51323"/>
                  <a:gd name="connsiteY249" fmla="*/ 4586 h 51323"/>
                  <a:gd name="connsiteX250" fmla="*/ 20835 w 51323"/>
                  <a:gd name="connsiteY250" fmla="*/ 4586 h 51323"/>
                  <a:gd name="connsiteX251" fmla="*/ 20835 w 51323"/>
                  <a:gd name="connsiteY251" fmla="*/ 4586 h 51323"/>
                  <a:gd name="connsiteX252" fmla="*/ 20835 w 51323"/>
                  <a:gd name="connsiteY252" fmla="*/ 4586 h 51323"/>
                  <a:gd name="connsiteX253" fmla="*/ 20835 w 51323"/>
                  <a:gd name="connsiteY253" fmla="*/ 4586 h 51323"/>
                  <a:gd name="connsiteX254" fmla="*/ 20663 w 51323"/>
                  <a:gd name="connsiteY254" fmla="*/ 4586 h 51323"/>
                  <a:gd name="connsiteX255" fmla="*/ 20663 w 51323"/>
                  <a:gd name="connsiteY255" fmla="*/ 4586 h 51323"/>
                  <a:gd name="connsiteX256" fmla="*/ 20663 w 51323"/>
                  <a:gd name="connsiteY256" fmla="*/ 4586 h 51323"/>
                  <a:gd name="connsiteX257" fmla="*/ 20663 w 51323"/>
                  <a:gd name="connsiteY257" fmla="*/ 4586 h 51323"/>
                  <a:gd name="connsiteX258" fmla="*/ 20560 w 51323"/>
                  <a:gd name="connsiteY258" fmla="*/ 4586 h 51323"/>
                  <a:gd name="connsiteX259" fmla="*/ 20560 w 51323"/>
                  <a:gd name="connsiteY259" fmla="*/ 4586 h 51323"/>
                  <a:gd name="connsiteX260" fmla="*/ 20114 w 51323"/>
                  <a:gd name="connsiteY260" fmla="*/ 4706 h 51323"/>
                  <a:gd name="connsiteX261" fmla="*/ 20114 w 51323"/>
                  <a:gd name="connsiteY261" fmla="*/ 4706 h 51323"/>
                  <a:gd name="connsiteX262" fmla="*/ 19787 w 51323"/>
                  <a:gd name="connsiteY262" fmla="*/ 4827 h 51323"/>
                  <a:gd name="connsiteX263" fmla="*/ 19787 w 51323"/>
                  <a:gd name="connsiteY263" fmla="*/ 4827 h 51323"/>
                  <a:gd name="connsiteX264" fmla="*/ 19392 w 51323"/>
                  <a:gd name="connsiteY264" fmla="*/ 4947 h 51323"/>
                  <a:gd name="connsiteX265" fmla="*/ 19392 w 51323"/>
                  <a:gd name="connsiteY265" fmla="*/ 4947 h 51323"/>
                  <a:gd name="connsiteX266" fmla="*/ 19100 w 51323"/>
                  <a:gd name="connsiteY266" fmla="*/ 5153 h 51323"/>
                  <a:gd name="connsiteX267" fmla="*/ 19100 w 51323"/>
                  <a:gd name="connsiteY267" fmla="*/ 5153 h 51323"/>
                  <a:gd name="connsiteX268" fmla="*/ 18997 w 51323"/>
                  <a:gd name="connsiteY268" fmla="*/ 5153 h 51323"/>
                  <a:gd name="connsiteX269" fmla="*/ 18997 w 51323"/>
                  <a:gd name="connsiteY269" fmla="*/ 5153 h 51323"/>
                  <a:gd name="connsiteX270" fmla="*/ 18430 w 51323"/>
                  <a:gd name="connsiteY270" fmla="*/ 5359 h 51323"/>
                  <a:gd name="connsiteX271" fmla="*/ 18568 w 51323"/>
                  <a:gd name="connsiteY271" fmla="*/ 5359 h 51323"/>
                  <a:gd name="connsiteX272" fmla="*/ 18568 w 51323"/>
                  <a:gd name="connsiteY272" fmla="*/ 5359 h 51323"/>
                  <a:gd name="connsiteX273" fmla="*/ 19169 w 51323"/>
                  <a:gd name="connsiteY273" fmla="*/ 5187 h 51323"/>
                  <a:gd name="connsiteX274" fmla="*/ 19169 w 51323"/>
                  <a:gd name="connsiteY274" fmla="*/ 5187 h 51323"/>
                  <a:gd name="connsiteX275" fmla="*/ 19341 w 51323"/>
                  <a:gd name="connsiteY275" fmla="*/ 5187 h 51323"/>
                  <a:gd name="connsiteX276" fmla="*/ 19461 w 51323"/>
                  <a:gd name="connsiteY276" fmla="*/ 5187 h 51323"/>
                  <a:gd name="connsiteX277" fmla="*/ 19186 w 51323"/>
                  <a:gd name="connsiteY277" fmla="*/ 5187 h 51323"/>
                  <a:gd name="connsiteX278" fmla="*/ 19186 w 51323"/>
                  <a:gd name="connsiteY278" fmla="*/ 5187 h 51323"/>
                  <a:gd name="connsiteX279" fmla="*/ 19032 w 51323"/>
                  <a:gd name="connsiteY279" fmla="*/ 5187 h 51323"/>
                  <a:gd name="connsiteX280" fmla="*/ 19032 w 51323"/>
                  <a:gd name="connsiteY280" fmla="*/ 5187 h 51323"/>
                  <a:gd name="connsiteX281" fmla="*/ 18911 w 51323"/>
                  <a:gd name="connsiteY281" fmla="*/ 5187 h 51323"/>
                  <a:gd name="connsiteX282" fmla="*/ 18911 w 51323"/>
                  <a:gd name="connsiteY282" fmla="*/ 5187 h 51323"/>
                  <a:gd name="connsiteX283" fmla="*/ 18740 w 51323"/>
                  <a:gd name="connsiteY283" fmla="*/ 5187 h 51323"/>
                  <a:gd name="connsiteX284" fmla="*/ 18740 w 51323"/>
                  <a:gd name="connsiteY284" fmla="*/ 5187 h 51323"/>
                  <a:gd name="connsiteX285" fmla="*/ 18894 w 51323"/>
                  <a:gd name="connsiteY285" fmla="*/ 5187 h 51323"/>
                  <a:gd name="connsiteX286" fmla="*/ 18894 w 51323"/>
                  <a:gd name="connsiteY286" fmla="*/ 5187 h 51323"/>
                  <a:gd name="connsiteX287" fmla="*/ 19049 w 51323"/>
                  <a:gd name="connsiteY287" fmla="*/ 5187 h 51323"/>
                  <a:gd name="connsiteX288" fmla="*/ 19049 w 51323"/>
                  <a:gd name="connsiteY288" fmla="*/ 5187 h 51323"/>
                  <a:gd name="connsiteX289" fmla="*/ 18860 w 51323"/>
                  <a:gd name="connsiteY289" fmla="*/ 5187 h 51323"/>
                  <a:gd name="connsiteX290" fmla="*/ 19032 w 51323"/>
                  <a:gd name="connsiteY290" fmla="*/ 5187 h 51323"/>
                  <a:gd name="connsiteX291" fmla="*/ 19186 w 51323"/>
                  <a:gd name="connsiteY291" fmla="*/ 5187 h 51323"/>
                  <a:gd name="connsiteX292" fmla="*/ 19289 w 51323"/>
                  <a:gd name="connsiteY292" fmla="*/ 5187 h 51323"/>
                  <a:gd name="connsiteX293" fmla="*/ 19650 w 51323"/>
                  <a:gd name="connsiteY293" fmla="*/ 5084 h 51323"/>
                  <a:gd name="connsiteX294" fmla="*/ 18482 w 51323"/>
                  <a:gd name="connsiteY294" fmla="*/ 5497 h 51323"/>
                  <a:gd name="connsiteX295" fmla="*/ 18654 w 51323"/>
                  <a:gd name="connsiteY295" fmla="*/ 5497 h 51323"/>
                  <a:gd name="connsiteX296" fmla="*/ 18654 w 51323"/>
                  <a:gd name="connsiteY296" fmla="*/ 5497 h 51323"/>
                  <a:gd name="connsiteX297" fmla="*/ 18740 w 51323"/>
                  <a:gd name="connsiteY297" fmla="*/ 5497 h 51323"/>
                  <a:gd name="connsiteX298" fmla="*/ 18894 w 51323"/>
                  <a:gd name="connsiteY298" fmla="*/ 5497 h 51323"/>
                  <a:gd name="connsiteX299" fmla="*/ 18894 w 51323"/>
                  <a:gd name="connsiteY299" fmla="*/ 5497 h 51323"/>
                  <a:gd name="connsiteX300" fmla="*/ 19032 w 51323"/>
                  <a:gd name="connsiteY300" fmla="*/ 5497 h 51323"/>
                  <a:gd name="connsiteX301" fmla="*/ 18722 w 51323"/>
                  <a:gd name="connsiteY301" fmla="*/ 5617 h 51323"/>
                  <a:gd name="connsiteX302" fmla="*/ 18722 w 51323"/>
                  <a:gd name="connsiteY302" fmla="*/ 5617 h 51323"/>
                  <a:gd name="connsiteX303" fmla="*/ 18585 w 51323"/>
                  <a:gd name="connsiteY303" fmla="*/ 5617 h 51323"/>
                  <a:gd name="connsiteX304" fmla="*/ 18585 w 51323"/>
                  <a:gd name="connsiteY304" fmla="*/ 5617 h 51323"/>
                  <a:gd name="connsiteX305" fmla="*/ 18413 w 51323"/>
                  <a:gd name="connsiteY305" fmla="*/ 5617 h 51323"/>
                  <a:gd name="connsiteX306" fmla="*/ 18688 w 51323"/>
                  <a:gd name="connsiteY306" fmla="*/ 5617 h 51323"/>
                  <a:gd name="connsiteX307" fmla="*/ 17743 w 51323"/>
                  <a:gd name="connsiteY307" fmla="*/ 6098 h 51323"/>
                  <a:gd name="connsiteX308" fmla="*/ 17743 w 51323"/>
                  <a:gd name="connsiteY308" fmla="*/ 6098 h 51323"/>
                  <a:gd name="connsiteX309" fmla="*/ 17554 w 51323"/>
                  <a:gd name="connsiteY309" fmla="*/ 6201 h 51323"/>
                  <a:gd name="connsiteX310" fmla="*/ 17743 w 51323"/>
                  <a:gd name="connsiteY310" fmla="*/ 6201 h 51323"/>
                  <a:gd name="connsiteX311" fmla="*/ 17743 w 51323"/>
                  <a:gd name="connsiteY311" fmla="*/ 6201 h 51323"/>
                  <a:gd name="connsiteX312" fmla="*/ 17743 w 51323"/>
                  <a:gd name="connsiteY312" fmla="*/ 6201 h 51323"/>
                  <a:gd name="connsiteX313" fmla="*/ 17159 w 51323"/>
                  <a:gd name="connsiteY313" fmla="*/ 6476 h 51323"/>
                  <a:gd name="connsiteX314" fmla="*/ 17159 w 51323"/>
                  <a:gd name="connsiteY314" fmla="*/ 6476 h 51323"/>
                  <a:gd name="connsiteX315" fmla="*/ 17039 w 51323"/>
                  <a:gd name="connsiteY315" fmla="*/ 6476 h 51323"/>
                  <a:gd name="connsiteX316" fmla="*/ 17039 w 51323"/>
                  <a:gd name="connsiteY316" fmla="*/ 6476 h 51323"/>
                  <a:gd name="connsiteX317" fmla="*/ 16867 w 51323"/>
                  <a:gd name="connsiteY317" fmla="*/ 6579 h 51323"/>
                  <a:gd name="connsiteX318" fmla="*/ 16867 w 51323"/>
                  <a:gd name="connsiteY318" fmla="*/ 6579 h 51323"/>
                  <a:gd name="connsiteX319" fmla="*/ 16730 w 51323"/>
                  <a:gd name="connsiteY319" fmla="*/ 6716 h 51323"/>
                  <a:gd name="connsiteX320" fmla="*/ 16730 w 51323"/>
                  <a:gd name="connsiteY320" fmla="*/ 6716 h 51323"/>
                  <a:gd name="connsiteX321" fmla="*/ 16730 w 51323"/>
                  <a:gd name="connsiteY321" fmla="*/ 6716 h 51323"/>
                  <a:gd name="connsiteX322" fmla="*/ 16730 w 51323"/>
                  <a:gd name="connsiteY322" fmla="*/ 6716 h 51323"/>
                  <a:gd name="connsiteX323" fmla="*/ 16730 w 51323"/>
                  <a:gd name="connsiteY323" fmla="*/ 6716 h 51323"/>
                  <a:gd name="connsiteX324" fmla="*/ 16885 w 51323"/>
                  <a:gd name="connsiteY324" fmla="*/ 6716 h 51323"/>
                  <a:gd name="connsiteX325" fmla="*/ 16627 w 51323"/>
                  <a:gd name="connsiteY325" fmla="*/ 6853 h 51323"/>
                  <a:gd name="connsiteX326" fmla="*/ 16627 w 51323"/>
                  <a:gd name="connsiteY326" fmla="*/ 6853 h 51323"/>
                  <a:gd name="connsiteX327" fmla="*/ 16386 w 51323"/>
                  <a:gd name="connsiteY327" fmla="*/ 6991 h 51323"/>
                  <a:gd name="connsiteX328" fmla="*/ 16558 w 51323"/>
                  <a:gd name="connsiteY328" fmla="*/ 6991 h 51323"/>
                  <a:gd name="connsiteX329" fmla="*/ 16077 w 51323"/>
                  <a:gd name="connsiteY329" fmla="*/ 7266 h 51323"/>
                  <a:gd name="connsiteX330" fmla="*/ 16077 w 51323"/>
                  <a:gd name="connsiteY330" fmla="*/ 7266 h 51323"/>
                  <a:gd name="connsiteX331" fmla="*/ 16077 w 51323"/>
                  <a:gd name="connsiteY331" fmla="*/ 7266 h 51323"/>
                  <a:gd name="connsiteX332" fmla="*/ 16833 w 51323"/>
                  <a:gd name="connsiteY332" fmla="*/ 6888 h 51323"/>
                  <a:gd name="connsiteX333" fmla="*/ 16833 w 51323"/>
                  <a:gd name="connsiteY333" fmla="*/ 6888 h 51323"/>
                  <a:gd name="connsiteX334" fmla="*/ 16833 w 51323"/>
                  <a:gd name="connsiteY334" fmla="*/ 6888 h 51323"/>
                  <a:gd name="connsiteX335" fmla="*/ 16833 w 51323"/>
                  <a:gd name="connsiteY335" fmla="*/ 6888 h 51323"/>
                  <a:gd name="connsiteX336" fmla="*/ 16936 w 51323"/>
                  <a:gd name="connsiteY336" fmla="*/ 6888 h 51323"/>
                  <a:gd name="connsiteX337" fmla="*/ 16833 w 51323"/>
                  <a:gd name="connsiteY337" fmla="*/ 6888 h 51323"/>
                  <a:gd name="connsiteX338" fmla="*/ 17056 w 51323"/>
                  <a:gd name="connsiteY338" fmla="*/ 6785 h 51323"/>
                  <a:gd name="connsiteX339" fmla="*/ 17056 w 51323"/>
                  <a:gd name="connsiteY339" fmla="*/ 6785 h 51323"/>
                  <a:gd name="connsiteX340" fmla="*/ 17159 w 51323"/>
                  <a:gd name="connsiteY340" fmla="*/ 6785 h 51323"/>
                  <a:gd name="connsiteX341" fmla="*/ 17039 w 51323"/>
                  <a:gd name="connsiteY341" fmla="*/ 6785 h 51323"/>
                  <a:gd name="connsiteX342" fmla="*/ 17142 w 51323"/>
                  <a:gd name="connsiteY342" fmla="*/ 6785 h 51323"/>
                  <a:gd name="connsiteX343" fmla="*/ 17022 w 51323"/>
                  <a:gd name="connsiteY343" fmla="*/ 6785 h 51323"/>
                  <a:gd name="connsiteX344" fmla="*/ 17022 w 51323"/>
                  <a:gd name="connsiteY344" fmla="*/ 6785 h 51323"/>
                  <a:gd name="connsiteX345" fmla="*/ 16885 w 51323"/>
                  <a:gd name="connsiteY345" fmla="*/ 6785 h 51323"/>
                  <a:gd name="connsiteX346" fmla="*/ 17005 w 51323"/>
                  <a:gd name="connsiteY346" fmla="*/ 6785 h 51323"/>
                  <a:gd name="connsiteX347" fmla="*/ 17314 w 51323"/>
                  <a:gd name="connsiteY347" fmla="*/ 6785 h 51323"/>
                  <a:gd name="connsiteX348" fmla="*/ 17314 w 51323"/>
                  <a:gd name="connsiteY348" fmla="*/ 6785 h 51323"/>
                  <a:gd name="connsiteX349" fmla="*/ 16696 w 51323"/>
                  <a:gd name="connsiteY349" fmla="*/ 7145 h 51323"/>
                  <a:gd name="connsiteX350" fmla="*/ 16696 w 51323"/>
                  <a:gd name="connsiteY350" fmla="*/ 7145 h 51323"/>
                  <a:gd name="connsiteX351" fmla="*/ 16696 w 51323"/>
                  <a:gd name="connsiteY351" fmla="*/ 7145 h 51323"/>
                  <a:gd name="connsiteX352" fmla="*/ 16696 w 51323"/>
                  <a:gd name="connsiteY352" fmla="*/ 7145 h 51323"/>
                  <a:gd name="connsiteX353" fmla="*/ 16696 w 51323"/>
                  <a:gd name="connsiteY353" fmla="*/ 7145 h 51323"/>
                  <a:gd name="connsiteX354" fmla="*/ 16696 w 51323"/>
                  <a:gd name="connsiteY354" fmla="*/ 7145 h 51323"/>
                  <a:gd name="connsiteX355" fmla="*/ 16696 w 51323"/>
                  <a:gd name="connsiteY355" fmla="*/ 7145 h 51323"/>
                  <a:gd name="connsiteX356" fmla="*/ 16455 w 51323"/>
                  <a:gd name="connsiteY356" fmla="*/ 7300 h 51323"/>
                  <a:gd name="connsiteX357" fmla="*/ 16455 w 51323"/>
                  <a:gd name="connsiteY357" fmla="*/ 7300 h 51323"/>
                  <a:gd name="connsiteX358" fmla="*/ 16455 w 51323"/>
                  <a:gd name="connsiteY358" fmla="*/ 7386 h 51323"/>
                  <a:gd name="connsiteX359" fmla="*/ 16610 w 51323"/>
                  <a:gd name="connsiteY359" fmla="*/ 7386 h 51323"/>
                  <a:gd name="connsiteX360" fmla="*/ 16610 w 51323"/>
                  <a:gd name="connsiteY360" fmla="*/ 7386 h 51323"/>
                  <a:gd name="connsiteX361" fmla="*/ 16610 w 51323"/>
                  <a:gd name="connsiteY361" fmla="*/ 7489 h 51323"/>
                  <a:gd name="connsiteX362" fmla="*/ 16610 w 51323"/>
                  <a:gd name="connsiteY362" fmla="*/ 7489 h 51323"/>
                  <a:gd name="connsiteX363" fmla="*/ 16610 w 51323"/>
                  <a:gd name="connsiteY363" fmla="*/ 7489 h 51323"/>
                  <a:gd name="connsiteX364" fmla="*/ 16610 w 51323"/>
                  <a:gd name="connsiteY364" fmla="*/ 7592 h 51323"/>
                  <a:gd name="connsiteX365" fmla="*/ 16970 w 51323"/>
                  <a:gd name="connsiteY365" fmla="*/ 7334 h 51323"/>
                  <a:gd name="connsiteX366" fmla="*/ 16970 w 51323"/>
                  <a:gd name="connsiteY366" fmla="*/ 7334 h 51323"/>
                  <a:gd name="connsiteX367" fmla="*/ 17108 w 51323"/>
                  <a:gd name="connsiteY367" fmla="*/ 7334 h 51323"/>
                  <a:gd name="connsiteX368" fmla="*/ 17245 w 51323"/>
                  <a:gd name="connsiteY368" fmla="*/ 7334 h 51323"/>
                  <a:gd name="connsiteX369" fmla="*/ 17142 w 51323"/>
                  <a:gd name="connsiteY369" fmla="*/ 7334 h 51323"/>
                  <a:gd name="connsiteX370" fmla="*/ 17142 w 51323"/>
                  <a:gd name="connsiteY370" fmla="*/ 7334 h 51323"/>
                  <a:gd name="connsiteX371" fmla="*/ 16988 w 51323"/>
                  <a:gd name="connsiteY371" fmla="*/ 7437 h 51323"/>
                  <a:gd name="connsiteX372" fmla="*/ 16988 w 51323"/>
                  <a:gd name="connsiteY372" fmla="*/ 7437 h 51323"/>
                  <a:gd name="connsiteX373" fmla="*/ 16867 w 51323"/>
                  <a:gd name="connsiteY373" fmla="*/ 7437 h 51323"/>
                  <a:gd name="connsiteX374" fmla="*/ 16610 w 51323"/>
                  <a:gd name="connsiteY374" fmla="*/ 7575 h 51323"/>
                  <a:gd name="connsiteX375" fmla="*/ 16610 w 51323"/>
                  <a:gd name="connsiteY375" fmla="*/ 7575 h 51323"/>
                  <a:gd name="connsiteX376" fmla="*/ 16421 w 51323"/>
                  <a:gd name="connsiteY376" fmla="*/ 7678 h 51323"/>
                  <a:gd name="connsiteX377" fmla="*/ 16421 w 51323"/>
                  <a:gd name="connsiteY377" fmla="*/ 7678 h 51323"/>
                  <a:gd name="connsiteX378" fmla="*/ 16283 w 51323"/>
                  <a:gd name="connsiteY378" fmla="*/ 7678 h 51323"/>
                  <a:gd name="connsiteX379" fmla="*/ 16283 w 51323"/>
                  <a:gd name="connsiteY379" fmla="*/ 7678 h 51323"/>
                  <a:gd name="connsiteX380" fmla="*/ 16283 w 51323"/>
                  <a:gd name="connsiteY380" fmla="*/ 7678 h 51323"/>
                  <a:gd name="connsiteX381" fmla="*/ 16129 w 51323"/>
                  <a:gd name="connsiteY381" fmla="*/ 7678 h 51323"/>
                  <a:gd name="connsiteX382" fmla="*/ 16129 w 51323"/>
                  <a:gd name="connsiteY382" fmla="*/ 7678 h 51323"/>
                  <a:gd name="connsiteX383" fmla="*/ 16129 w 51323"/>
                  <a:gd name="connsiteY383" fmla="*/ 7678 h 51323"/>
                  <a:gd name="connsiteX384" fmla="*/ 16129 w 51323"/>
                  <a:gd name="connsiteY384" fmla="*/ 7678 h 51323"/>
                  <a:gd name="connsiteX385" fmla="*/ 15820 w 51323"/>
                  <a:gd name="connsiteY385" fmla="*/ 7867 h 51323"/>
                  <a:gd name="connsiteX386" fmla="*/ 16043 w 51323"/>
                  <a:gd name="connsiteY386" fmla="*/ 7747 h 51323"/>
                  <a:gd name="connsiteX387" fmla="*/ 16043 w 51323"/>
                  <a:gd name="connsiteY387" fmla="*/ 7747 h 51323"/>
                  <a:gd name="connsiteX388" fmla="*/ 16318 w 51323"/>
                  <a:gd name="connsiteY388" fmla="*/ 7644 h 51323"/>
                  <a:gd name="connsiteX389" fmla="*/ 16198 w 51323"/>
                  <a:gd name="connsiteY389" fmla="*/ 7644 h 51323"/>
                  <a:gd name="connsiteX390" fmla="*/ 16747 w 51323"/>
                  <a:gd name="connsiteY390" fmla="*/ 7352 h 51323"/>
                  <a:gd name="connsiteX391" fmla="*/ 16747 w 51323"/>
                  <a:gd name="connsiteY391" fmla="*/ 7352 h 51323"/>
                  <a:gd name="connsiteX392" fmla="*/ 16747 w 51323"/>
                  <a:gd name="connsiteY392" fmla="*/ 7352 h 51323"/>
                  <a:gd name="connsiteX393" fmla="*/ 17400 w 51323"/>
                  <a:gd name="connsiteY393" fmla="*/ 7077 h 51323"/>
                  <a:gd name="connsiteX394" fmla="*/ 17262 w 51323"/>
                  <a:gd name="connsiteY394" fmla="*/ 7077 h 51323"/>
                  <a:gd name="connsiteX395" fmla="*/ 17262 w 51323"/>
                  <a:gd name="connsiteY395" fmla="*/ 7077 h 51323"/>
                  <a:gd name="connsiteX396" fmla="*/ 17520 w 51323"/>
                  <a:gd name="connsiteY396" fmla="*/ 6991 h 51323"/>
                  <a:gd name="connsiteX397" fmla="*/ 17846 w 51323"/>
                  <a:gd name="connsiteY397" fmla="*/ 6768 h 51323"/>
                  <a:gd name="connsiteX398" fmla="*/ 17846 w 51323"/>
                  <a:gd name="connsiteY398" fmla="*/ 6768 h 51323"/>
                  <a:gd name="connsiteX399" fmla="*/ 17846 w 51323"/>
                  <a:gd name="connsiteY399" fmla="*/ 6768 h 51323"/>
                  <a:gd name="connsiteX400" fmla="*/ 18482 w 51323"/>
                  <a:gd name="connsiteY400" fmla="*/ 6476 h 51323"/>
                  <a:gd name="connsiteX401" fmla="*/ 18482 w 51323"/>
                  <a:gd name="connsiteY401" fmla="*/ 6476 h 51323"/>
                  <a:gd name="connsiteX402" fmla="*/ 19066 w 51323"/>
                  <a:gd name="connsiteY402" fmla="*/ 6235 h 51323"/>
                  <a:gd name="connsiteX403" fmla="*/ 18911 w 51323"/>
                  <a:gd name="connsiteY403" fmla="*/ 6321 h 51323"/>
                  <a:gd name="connsiteX404" fmla="*/ 19427 w 51323"/>
                  <a:gd name="connsiteY404" fmla="*/ 6115 h 51323"/>
                  <a:gd name="connsiteX405" fmla="*/ 19238 w 51323"/>
                  <a:gd name="connsiteY405" fmla="*/ 6252 h 51323"/>
                  <a:gd name="connsiteX406" fmla="*/ 20303 w 51323"/>
                  <a:gd name="connsiteY406" fmla="*/ 5909 h 51323"/>
                  <a:gd name="connsiteX407" fmla="*/ 21024 w 51323"/>
                  <a:gd name="connsiteY407" fmla="*/ 5651 h 51323"/>
                  <a:gd name="connsiteX408" fmla="*/ 20303 w 51323"/>
                  <a:gd name="connsiteY408" fmla="*/ 6149 h 51323"/>
                  <a:gd name="connsiteX409" fmla="*/ 20303 w 51323"/>
                  <a:gd name="connsiteY409" fmla="*/ 6149 h 51323"/>
                  <a:gd name="connsiteX410" fmla="*/ 20406 w 51323"/>
                  <a:gd name="connsiteY410" fmla="*/ 6149 h 51323"/>
                  <a:gd name="connsiteX411" fmla="*/ 20492 w 51323"/>
                  <a:gd name="connsiteY411" fmla="*/ 6235 h 51323"/>
                  <a:gd name="connsiteX412" fmla="*/ 20354 w 51323"/>
                  <a:gd name="connsiteY412" fmla="*/ 6235 h 51323"/>
                  <a:gd name="connsiteX413" fmla="*/ 20165 w 51323"/>
                  <a:gd name="connsiteY413" fmla="*/ 6355 h 51323"/>
                  <a:gd name="connsiteX414" fmla="*/ 20337 w 51323"/>
                  <a:gd name="connsiteY414" fmla="*/ 6355 h 51323"/>
                  <a:gd name="connsiteX415" fmla="*/ 19856 w 51323"/>
                  <a:gd name="connsiteY415" fmla="*/ 6716 h 51323"/>
                  <a:gd name="connsiteX416" fmla="*/ 20097 w 51323"/>
                  <a:gd name="connsiteY416" fmla="*/ 6716 h 51323"/>
                  <a:gd name="connsiteX417" fmla="*/ 19667 w 51323"/>
                  <a:gd name="connsiteY417" fmla="*/ 6939 h 51323"/>
                  <a:gd name="connsiteX418" fmla="*/ 19495 w 51323"/>
                  <a:gd name="connsiteY418" fmla="*/ 7145 h 51323"/>
                  <a:gd name="connsiteX419" fmla="*/ 19358 w 51323"/>
                  <a:gd name="connsiteY419" fmla="*/ 7266 h 51323"/>
                  <a:gd name="connsiteX420" fmla="*/ 19358 w 51323"/>
                  <a:gd name="connsiteY420" fmla="*/ 7352 h 51323"/>
                  <a:gd name="connsiteX421" fmla="*/ 19358 w 51323"/>
                  <a:gd name="connsiteY421" fmla="*/ 7523 h 51323"/>
                  <a:gd name="connsiteX422" fmla="*/ 19049 w 51323"/>
                  <a:gd name="connsiteY422" fmla="*/ 7626 h 51323"/>
                  <a:gd name="connsiteX423" fmla="*/ 18860 w 51323"/>
                  <a:gd name="connsiteY423" fmla="*/ 7918 h 51323"/>
                  <a:gd name="connsiteX424" fmla="*/ 18860 w 51323"/>
                  <a:gd name="connsiteY424" fmla="*/ 8039 h 51323"/>
                  <a:gd name="connsiteX425" fmla="*/ 18705 w 51323"/>
                  <a:gd name="connsiteY425" fmla="*/ 8399 h 51323"/>
                  <a:gd name="connsiteX426" fmla="*/ 18551 w 51323"/>
                  <a:gd name="connsiteY426" fmla="*/ 8588 h 51323"/>
                  <a:gd name="connsiteX427" fmla="*/ 18396 w 51323"/>
                  <a:gd name="connsiteY427" fmla="*/ 8829 h 51323"/>
                  <a:gd name="connsiteX428" fmla="*/ 18190 w 51323"/>
                  <a:gd name="connsiteY428" fmla="*/ 8966 h 51323"/>
                  <a:gd name="connsiteX429" fmla="*/ 18190 w 51323"/>
                  <a:gd name="connsiteY429" fmla="*/ 8966 h 51323"/>
                  <a:gd name="connsiteX430" fmla="*/ 17846 w 51323"/>
                  <a:gd name="connsiteY430" fmla="*/ 9155 h 51323"/>
                  <a:gd name="connsiteX431" fmla="*/ 18224 w 51323"/>
                  <a:gd name="connsiteY431" fmla="*/ 8605 h 51323"/>
                  <a:gd name="connsiteX432" fmla="*/ 18224 w 51323"/>
                  <a:gd name="connsiteY432" fmla="*/ 8434 h 51323"/>
                  <a:gd name="connsiteX433" fmla="*/ 18053 w 51323"/>
                  <a:gd name="connsiteY433" fmla="*/ 8434 h 51323"/>
                  <a:gd name="connsiteX434" fmla="*/ 17486 w 51323"/>
                  <a:gd name="connsiteY434" fmla="*/ 9155 h 51323"/>
                  <a:gd name="connsiteX435" fmla="*/ 16747 w 51323"/>
                  <a:gd name="connsiteY435" fmla="*/ 9842 h 51323"/>
                  <a:gd name="connsiteX436" fmla="*/ 16747 w 51323"/>
                  <a:gd name="connsiteY436" fmla="*/ 9396 h 51323"/>
                  <a:gd name="connsiteX437" fmla="*/ 16524 w 51323"/>
                  <a:gd name="connsiteY437" fmla="*/ 10306 h 51323"/>
                  <a:gd name="connsiteX438" fmla="*/ 16799 w 51323"/>
                  <a:gd name="connsiteY438" fmla="*/ 9069 h 51323"/>
                  <a:gd name="connsiteX439" fmla="*/ 16558 w 51323"/>
                  <a:gd name="connsiteY439" fmla="*/ 9069 h 51323"/>
                  <a:gd name="connsiteX440" fmla="*/ 16301 w 51323"/>
                  <a:gd name="connsiteY440" fmla="*/ 9069 h 51323"/>
                  <a:gd name="connsiteX441" fmla="*/ 16850 w 51323"/>
                  <a:gd name="connsiteY441" fmla="*/ 8794 h 51323"/>
                  <a:gd name="connsiteX442" fmla="*/ 19530 w 51323"/>
                  <a:gd name="connsiteY442" fmla="*/ 6733 h 51323"/>
                  <a:gd name="connsiteX443" fmla="*/ 18980 w 51323"/>
                  <a:gd name="connsiteY443" fmla="*/ 6733 h 51323"/>
                  <a:gd name="connsiteX444" fmla="*/ 18980 w 51323"/>
                  <a:gd name="connsiteY444" fmla="*/ 6561 h 51323"/>
                  <a:gd name="connsiteX445" fmla="*/ 18980 w 51323"/>
                  <a:gd name="connsiteY445" fmla="*/ 6373 h 51323"/>
                  <a:gd name="connsiteX446" fmla="*/ 19083 w 51323"/>
                  <a:gd name="connsiteY446" fmla="*/ 6373 h 51323"/>
                  <a:gd name="connsiteX447" fmla="*/ 18929 w 51323"/>
                  <a:gd name="connsiteY447" fmla="*/ 6458 h 51323"/>
                  <a:gd name="connsiteX448" fmla="*/ 18173 w 51323"/>
                  <a:gd name="connsiteY448" fmla="*/ 6871 h 51323"/>
                  <a:gd name="connsiteX449" fmla="*/ 18173 w 51323"/>
                  <a:gd name="connsiteY449" fmla="*/ 6871 h 51323"/>
                  <a:gd name="connsiteX450" fmla="*/ 18293 w 51323"/>
                  <a:gd name="connsiteY450" fmla="*/ 6871 h 51323"/>
                  <a:gd name="connsiteX451" fmla="*/ 18242 w 51323"/>
                  <a:gd name="connsiteY451" fmla="*/ 6871 h 51323"/>
                  <a:gd name="connsiteX452" fmla="*/ 18242 w 51323"/>
                  <a:gd name="connsiteY452" fmla="*/ 6871 h 51323"/>
                  <a:gd name="connsiteX453" fmla="*/ 17898 w 51323"/>
                  <a:gd name="connsiteY453" fmla="*/ 7025 h 51323"/>
                  <a:gd name="connsiteX454" fmla="*/ 17898 w 51323"/>
                  <a:gd name="connsiteY454" fmla="*/ 7025 h 51323"/>
                  <a:gd name="connsiteX455" fmla="*/ 17898 w 51323"/>
                  <a:gd name="connsiteY455" fmla="*/ 7025 h 51323"/>
                  <a:gd name="connsiteX456" fmla="*/ 18001 w 51323"/>
                  <a:gd name="connsiteY456" fmla="*/ 7025 h 51323"/>
                  <a:gd name="connsiteX457" fmla="*/ 18001 w 51323"/>
                  <a:gd name="connsiteY457" fmla="*/ 7025 h 51323"/>
                  <a:gd name="connsiteX458" fmla="*/ 18001 w 51323"/>
                  <a:gd name="connsiteY458" fmla="*/ 7025 h 51323"/>
                  <a:gd name="connsiteX459" fmla="*/ 17829 w 51323"/>
                  <a:gd name="connsiteY459" fmla="*/ 7025 h 51323"/>
                  <a:gd name="connsiteX460" fmla="*/ 17829 w 51323"/>
                  <a:gd name="connsiteY460" fmla="*/ 7025 h 51323"/>
                  <a:gd name="connsiteX461" fmla="*/ 17829 w 51323"/>
                  <a:gd name="connsiteY461" fmla="*/ 7025 h 51323"/>
                  <a:gd name="connsiteX462" fmla="*/ 17177 w 51323"/>
                  <a:gd name="connsiteY462" fmla="*/ 7437 h 51323"/>
                  <a:gd name="connsiteX463" fmla="*/ 17434 w 51323"/>
                  <a:gd name="connsiteY463" fmla="*/ 7334 h 51323"/>
                  <a:gd name="connsiteX464" fmla="*/ 17434 w 51323"/>
                  <a:gd name="connsiteY464" fmla="*/ 7334 h 51323"/>
                  <a:gd name="connsiteX465" fmla="*/ 17864 w 51323"/>
                  <a:gd name="connsiteY465" fmla="*/ 7111 h 51323"/>
                  <a:gd name="connsiteX466" fmla="*/ 17331 w 51323"/>
                  <a:gd name="connsiteY466" fmla="*/ 7489 h 51323"/>
                  <a:gd name="connsiteX467" fmla="*/ 17331 w 51323"/>
                  <a:gd name="connsiteY467" fmla="*/ 7489 h 51323"/>
                  <a:gd name="connsiteX468" fmla="*/ 16644 w 51323"/>
                  <a:gd name="connsiteY468" fmla="*/ 7970 h 51323"/>
                  <a:gd name="connsiteX469" fmla="*/ 16799 w 51323"/>
                  <a:gd name="connsiteY469" fmla="*/ 7884 h 51323"/>
                  <a:gd name="connsiteX470" fmla="*/ 16799 w 51323"/>
                  <a:gd name="connsiteY470" fmla="*/ 7884 h 51323"/>
                  <a:gd name="connsiteX471" fmla="*/ 17675 w 51323"/>
                  <a:gd name="connsiteY471" fmla="*/ 7437 h 51323"/>
                  <a:gd name="connsiteX472" fmla="*/ 17675 w 51323"/>
                  <a:gd name="connsiteY472" fmla="*/ 7437 h 51323"/>
                  <a:gd name="connsiteX473" fmla="*/ 17675 w 51323"/>
                  <a:gd name="connsiteY473" fmla="*/ 7437 h 51323"/>
                  <a:gd name="connsiteX474" fmla="*/ 17812 w 51323"/>
                  <a:gd name="connsiteY474" fmla="*/ 7352 h 51323"/>
                  <a:gd name="connsiteX475" fmla="*/ 17812 w 51323"/>
                  <a:gd name="connsiteY475" fmla="*/ 7352 h 51323"/>
                  <a:gd name="connsiteX476" fmla="*/ 17932 w 51323"/>
                  <a:gd name="connsiteY476" fmla="*/ 7352 h 51323"/>
                  <a:gd name="connsiteX477" fmla="*/ 17932 w 51323"/>
                  <a:gd name="connsiteY477" fmla="*/ 7352 h 51323"/>
                  <a:gd name="connsiteX478" fmla="*/ 18362 w 51323"/>
                  <a:gd name="connsiteY478" fmla="*/ 7111 h 51323"/>
                  <a:gd name="connsiteX479" fmla="*/ 18362 w 51323"/>
                  <a:gd name="connsiteY479" fmla="*/ 7266 h 51323"/>
                  <a:gd name="connsiteX480" fmla="*/ 18362 w 51323"/>
                  <a:gd name="connsiteY480" fmla="*/ 7266 h 51323"/>
                  <a:gd name="connsiteX481" fmla="*/ 18242 w 51323"/>
                  <a:gd name="connsiteY481" fmla="*/ 7386 h 51323"/>
                  <a:gd name="connsiteX482" fmla="*/ 18104 w 51323"/>
                  <a:gd name="connsiteY482" fmla="*/ 7489 h 51323"/>
                  <a:gd name="connsiteX483" fmla="*/ 17898 w 51323"/>
                  <a:gd name="connsiteY483" fmla="*/ 7626 h 51323"/>
                  <a:gd name="connsiteX484" fmla="*/ 17898 w 51323"/>
                  <a:gd name="connsiteY484" fmla="*/ 7626 h 51323"/>
                  <a:gd name="connsiteX485" fmla="*/ 17898 w 51323"/>
                  <a:gd name="connsiteY485" fmla="*/ 7626 h 51323"/>
                  <a:gd name="connsiteX486" fmla="*/ 17692 w 51323"/>
                  <a:gd name="connsiteY486" fmla="*/ 7626 h 51323"/>
                  <a:gd name="connsiteX487" fmla="*/ 17692 w 51323"/>
                  <a:gd name="connsiteY487" fmla="*/ 7626 h 51323"/>
                  <a:gd name="connsiteX488" fmla="*/ 17537 w 51323"/>
                  <a:gd name="connsiteY488" fmla="*/ 7729 h 51323"/>
                  <a:gd name="connsiteX489" fmla="*/ 17537 w 51323"/>
                  <a:gd name="connsiteY489" fmla="*/ 7729 h 51323"/>
                  <a:gd name="connsiteX490" fmla="*/ 17537 w 51323"/>
                  <a:gd name="connsiteY490" fmla="*/ 7729 h 51323"/>
                  <a:gd name="connsiteX491" fmla="*/ 16438 w 51323"/>
                  <a:gd name="connsiteY491" fmla="*/ 8296 h 51323"/>
                  <a:gd name="connsiteX492" fmla="*/ 16524 w 51323"/>
                  <a:gd name="connsiteY492" fmla="*/ 8245 h 51323"/>
                  <a:gd name="connsiteX493" fmla="*/ 16524 w 51323"/>
                  <a:gd name="connsiteY493" fmla="*/ 8245 h 51323"/>
                  <a:gd name="connsiteX494" fmla="*/ 16661 w 51323"/>
                  <a:gd name="connsiteY494" fmla="*/ 8125 h 51323"/>
                  <a:gd name="connsiteX495" fmla="*/ 16661 w 51323"/>
                  <a:gd name="connsiteY495" fmla="*/ 8125 h 51323"/>
                  <a:gd name="connsiteX496" fmla="*/ 16661 w 51323"/>
                  <a:gd name="connsiteY496" fmla="*/ 8125 h 51323"/>
                  <a:gd name="connsiteX497" fmla="*/ 16301 w 51323"/>
                  <a:gd name="connsiteY497" fmla="*/ 8451 h 51323"/>
                  <a:gd name="connsiteX498" fmla="*/ 16404 w 51323"/>
                  <a:gd name="connsiteY498" fmla="*/ 8296 h 51323"/>
                  <a:gd name="connsiteX499" fmla="*/ 16283 w 51323"/>
                  <a:gd name="connsiteY499" fmla="*/ 8399 h 51323"/>
                  <a:gd name="connsiteX500" fmla="*/ 16283 w 51323"/>
                  <a:gd name="connsiteY500" fmla="*/ 8399 h 51323"/>
                  <a:gd name="connsiteX501" fmla="*/ 16283 w 51323"/>
                  <a:gd name="connsiteY501" fmla="*/ 8399 h 51323"/>
                  <a:gd name="connsiteX502" fmla="*/ 16438 w 51323"/>
                  <a:gd name="connsiteY502" fmla="*/ 8279 h 51323"/>
                  <a:gd name="connsiteX503" fmla="*/ 16438 w 51323"/>
                  <a:gd name="connsiteY503" fmla="*/ 8279 h 51323"/>
                  <a:gd name="connsiteX504" fmla="*/ 16438 w 51323"/>
                  <a:gd name="connsiteY504" fmla="*/ 8279 h 51323"/>
                  <a:gd name="connsiteX505" fmla="*/ 16438 w 51323"/>
                  <a:gd name="connsiteY505" fmla="*/ 8279 h 51323"/>
                  <a:gd name="connsiteX506" fmla="*/ 15837 w 51323"/>
                  <a:gd name="connsiteY506" fmla="*/ 8657 h 51323"/>
                  <a:gd name="connsiteX507" fmla="*/ 15837 w 51323"/>
                  <a:gd name="connsiteY507" fmla="*/ 8657 h 51323"/>
                  <a:gd name="connsiteX508" fmla="*/ 15837 w 51323"/>
                  <a:gd name="connsiteY508" fmla="*/ 8365 h 51323"/>
                  <a:gd name="connsiteX509" fmla="*/ 15287 w 51323"/>
                  <a:gd name="connsiteY509" fmla="*/ 8932 h 51323"/>
                  <a:gd name="connsiteX510" fmla="*/ 15287 w 51323"/>
                  <a:gd name="connsiteY510" fmla="*/ 8932 h 51323"/>
                  <a:gd name="connsiteX511" fmla="*/ 14841 w 51323"/>
                  <a:gd name="connsiteY511" fmla="*/ 9138 h 51323"/>
                  <a:gd name="connsiteX512" fmla="*/ 14841 w 51323"/>
                  <a:gd name="connsiteY512" fmla="*/ 9138 h 51323"/>
                  <a:gd name="connsiteX513" fmla="*/ 14841 w 51323"/>
                  <a:gd name="connsiteY513" fmla="*/ 9138 h 51323"/>
                  <a:gd name="connsiteX514" fmla="*/ 14841 w 51323"/>
                  <a:gd name="connsiteY514" fmla="*/ 9138 h 51323"/>
                  <a:gd name="connsiteX515" fmla="*/ 14961 w 51323"/>
                  <a:gd name="connsiteY515" fmla="*/ 9035 h 51323"/>
                  <a:gd name="connsiteX516" fmla="*/ 14806 w 51323"/>
                  <a:gd name="connsiteY516" fmla="*/ 9121 h 51323"/>
                  <a:gd name="connsiteX517" fmla="*/ 14909 w 51323"/>
                  <a:gd name="connsiteY517" fmla="*/ 9018 h 51323"/>
                  <a:gd name="connsiteX518" fmla="*/ 14686 w 51323"/>
                  <a:gd name="connsiteY518" fmla="*/ 9138 h 51323"/>
                  <a:gd name="connsiteX519" fmla="*/ 14531 w 51323"/>
                  <a:gd name="connsiteY519" fmla="*/ 9258 h 51323"/>
                  <a:gd name="connsiteX520" fmla="*/ 14789 w 51323"/>
                  <a:gd name="connsiteY520" fmla="*/ 8846 h 51323"/>
                  <a:gd name="connsiteX521" fmla="*/ 14789 w 51323"/>
                  <a:gd name="connsiteY521" fmla="*/ 8846 h 51323"/>
                  <a:gd name="connsiteX522" fmla="*/ 14789 w 51323"/>
                  <a:gd name="connsiteY522" fmla="*/ 8846 h 51323"/>
                  <a:gd name="connsiteX523" fmla="*/ 14703 w 51323"/>
                  <a:gd name="connsiteY523" fmla="*/ 8949 h 51323"/>
                  <a:gd name="connsiteX524" fmla="*/ 14549 w 51323"/>
                  <a:gd name="connsiteY524" fmla="*/ 9121 h 51323"/>
                  <a:gd name="connsiteX525" fmla="*/ 14686 w 51323"/>
                  <a:gd name="connsiteY525" fmla="*/ 9121 h 51323"/>
                  <a:gd name="connsiteX526" fmla="*/ 14411 w 51323"/>
                  <a:gd name="connsiteY526" fmla="*/ 9121 h 51323"/>
                  <a:gd name="connsiteX527" fmla="*/ 14085 w 51323"/>
                  <a:gd name="connsiteY527" fmla="*/ 9447 h 51323"/>
                  <a:gd name="connsiteX528" fmla="*/ 14085 w 51323"/>
                  <a:gd name="connsiteY528" fmla="*/ 9447 h 51323"/>
                  <a:gd name="connsiteX529" fmla="*/ 14085 w 51323"/>
                  <a:gd name="connsiteY529" fmla="*/ 9447 h 51323"/>
                  <a:gd name="connsiteX530" fmla="*/ 14085 w 51323"/>
                  <a:gd name="connsiteY530" fmla="*/ 9447 h 51323"/>
                  <a:gd name="connsiteX531" fmla="*/ 13930 w 51323"/>
                  <a:gd name="connsiteY531" fmla="*/ 9585 h 51323"/>
                  <a:gd name="connsiteX532" fmla="*/ 13930 w 51323"/>
                  <a:gd name="connsiteY532" fmla="*/ 9585 h 51323"/>
                  <a:gd name="connsiteX533" fmla="*/ 13776 w 51323"/>
                  <a:gd name="connsiteY533" fmla="*/ 9585 h 51323"/>
                  <a:gd name="connsiteX534" fmla="*/ 13123 w 51323"/>
                  <a:gd name="connsiteY534" fmla="*/ 9945 h 51323"/>
                  <a:gd name="connsiteX535" fmla="*/ 13123 w 51323"/>
                  <a:gd name="connsiteY535" fmla="*/ 9945 h 51323"/>
                  <a:gd name="connsiteX536" fmla="*/ 11903 w 51323"/>
                  <a:gd name="connsiteY536" fmla="*/ 10907 h 51323"/>
                  <a:gd name="connsiteX537" fmla="*/ 11525 w 51323"/>
                  <a:gd name="connsiteY537" fmla="*/ 11405 h 51323"/>
                  <a:gd name="connsiteX538" fmla="*/ 11525 w 51323"/>
                  <a:gd name="connsiteY538" fmla="*/ 12092 h 51323"/>
                  <a:gd name="connsiteX539" fmla="*/ 11525 w 51323"/>
                  <a:gd name="connsiteY539" fmla="*/ 12092 h 51323"/>
                  <a:gd name="connsiteX540" fmla="*/ 11405 w 51323"/>
                  <a:gd name="connsiteY540" fmla="*/ 12556 h 51323"/>
                  <a:gd name="connsiteX541" fmla="*/ 11629 w 51323"/>
                  <a:gd name="connsiteY541" fmla="*/ 12693 h 51323"/>
                  <a:gd name="connsiteX542" fmla="*/ 11629 w 51323"/>
                  <a:gd name="connsiteY542" fmla="*/ 12693 h 51323"/>
                  <a:gd name="connsiteX543" fmla="*/ 10392 w 51323"/>
                  <a:gd name="connsiteY543" fmla="*/ 14325 h 51323"/>
                  <a:gd name="connsiteX544" fmla="*/ 10753 w 51323"/>
                  <a:gd name="connsiteY544" fmla="*/ 14188 h 51323"/>
                  <a:gd name="connsiteX545" fmla="*/ 10649 w 51323"/>
                  <a:gd name="connsiteY545" fmla="*/ 14514 h 51323"/>
                  <a:gd name="connsiteX546" fmla="*/ 12608 w 51323"/>
                  <a:gd name="connsiteY546" fmla="*/ 12590 h 51323"/>
                  <a:gd name="connsiteX547" fmla="*/ 13999 w 51323"/>
                  <a:gd name="connsiteY547" fmla="*/ 11148 h 51323"/>
                  <a:gd name="connsiteX548" fmla="*/ 13999 w 51323"/>
                  <a:gd name="connsiteY548" fmla="*/ 11148 h 51323"/>
                  <a:gd name="connsiteX549" fmla="*/ 14205 w 51323"/>
                  <a:gd name="connsiteY549" fmla="*/ 10976 h 51323"/>
                  <a:gd name="connsiteX550" fmla="*/ 14325 w 51323"/>
                  <a:gd name="connsiteY550" fmla="*/ 10856 h 51323"/>
                  <a:gd name="connsiteX551" fmla="*/ 15081 w 51323"/>
                  <a:gd name="connsiteY551" fmla="*/ 10409 h 51323"/>
                  <a:gd name="connsiteX552" fmla="*/ 15201 w 51323"/>
                  <a:gd name="connsiteY552" fmla="*/ 10409 h 51323"/>
                  <a:gd name="connsiteX553" fmla="*/ 15201 w 51323"/>
                  <a:gd name="connsiteY553" fmla="*/ 10409 h 51323"/>
                  <a:gd name="connsiteX554" fmla="*/ 15304 w 51323"/>
                  <a:gd name="connsiteY554" fmla="*/ 10564 h 51323"/>
                  <a:gd name="connsiteX555" fmla="*/ 15167 w 51323"/>
                  <a:gd name="connsiteY555" fmla="*/ 10701 h 51323"/>
                  <a:gd name="connsiteX556" fmla="*/ 15167 w 51323"/>
                  <a:gd name="connsiteY556" fmla="*/ 10701 h 51323"/>
                  <a:gd name="connsiteX557" fmla="*/ 15167 w 51323"/>
                  <a:gd name="connsiteY557" fmla="*/ 10856 h 51323"/>
                  <a:gd name="connsiteX558" fmla="*/ 15167 w 51323"/>
                  <a:gd name="connsiteY558" fmla="*/ 10856 h 51323"/>
                  <a:gd name="connsiteX559" fmla="*/ 15167 w 51323"/>
                  <a:gd name="connsiteY559" fmla="*/ 10941 h 51323"/>
                  <a:gd name="connsiteX560" fmla="*/ 15167 w 51323"/>
                  <a:gd name="connsiteY560" fmla="*/ 10941 h 51323"/>
                  <a:gd name="connsiteX561" fmla="*/ 15047 w 51323"/>
                  <a:gd name="connsiteY561" fmla="*/ 11079 h 51323"/>
                  <a:gd name="connsiteX562" fmla="*/ 15047 w 51323"/>
                  <a:gd name="connsiteY562" fmla="*/ 11079 h 51323"/>
                  <a:gd name="connsiteX563" fmla="*/ 15047 w 51323"/>
                  <a:gd name="connsiteY563" fmla="*/ 11079 h 51323"/>
                  <a:gd name="connsiteX564" fmla="*/ 15047 w 51323"/>
                  <a:gd name="connsiteY564" fmla="*/ 11079 h 51323"/>
                  <a:gd name="connsiteX565" fmla="*/ 15047 w 51323"/>
                  <a:gd name="connsiteY565" fmla="*/ 11079 h 51323"/>
                  <a:gd name="connsiteX566" fmla="*/ 15047 w 51323"/>
                  <a:gd name="connsiteY566" fmla="*/ 11079 h 51323"/>
                  <a:gd name="connsiteX567" fmla="*/ 15047 w 51323"/>
                  <a:gd name="connsiteY567" fmla="*/ 11216 h 51323"/>
                  <a:gd name="connsiteX568" fmla="*/ 15201 w 51323"/>
                  <a:gd name="connsiteY568" fmla="*/ 11130 h 51323"/>
                  <a:gd name="connsiteX569" fmla="*/ 14789 w 51323"/>
                  <a:gd name="connsiteY569" fmla="*/ 11508 h 51323"/>
                  <a:gd name="connsiteX570" fmla="*/ 14789 w 51323"/>
                  <a:gd name="connsiteY570" fmla="*/ 11508 h 51323"/>
                  <a:gd name="connsiteX571" fmla="*/ 14583 w 51323"/>
                  <a:gd name="connsiteY571" fmla="*/ 11508 h 51323"/>
                  <a:gd name="connsiteX572" fmla="*/ 14325 w 51323"/>
                  <a:gd name="connsiteY572" fmla="*/ 11989 h 51323"/>
                  <a:gd name="connsiteX573" fmla="*/ 14325 w 51323"/>
                  <a:gd name="connsiteY573" fmla="*/ 11989 h 51323"/>
                  <a:gd name="connsiteX574" fmla="*/ 14016 w 51323"/>
                  <a:gd name="connsiteY574" fmla="*/ 12367 h 51323"/>
                  <a:gd name="connsiteX575" fmla="*/ 14016 w 51323"/>
                  <a:gd name="connsiteY575" fmla="*/ 12367 h 51323"/>
                  <a:gd name="connsiteX576" fmla="*/ 14308 w 51323"/>
                  <a:gd name="connsiteY576" fmla="*/ 12230 h 51323"/>
                  <a:gd name="connsiteX577" fmla="*/ 14549 w 51323"/>
                  <a:gd name="connsiteY577" fmla="*/ 12075 h 51323"/>
                  <a:gd name="connsiteX578" fmla="*/ 14549 w 51323"/>
                  <a:gd name="connsiteY578" fmla="*/ 12247 h 51323"/>
                  <a:gd name="connsiteX579" fmla="*/ 14995 w 51323"/>
                  <a:gd name="connsiteY579" fmla="*/ 11921 h 51323"/>
                  <a:gd name="connsiteX580" fmla="*/ 14995 w 51323"/>
                  <a:gd name="connsiteY580" fmla="*/ 11921 h 51323"/>
                  <a:gd name="connsiteX581" fmla="*/ 15133 w 51323"/>
                  <a:gd name="connsiteY581" fmla="*/ 11817 h 51323"/>
                  <a:gd name="connsiteX582" fmla="*/ 15133 w 51323"/>
                  <a:gd name="connsiteY582" fmla="*/ 11817 h 51323"/>
                  <a:gd name="connsiteX583" fmla="*/ 15442 w 51323"/>
                  <a:gd name="connsiteY583" fmla="*/ 11577 h 51323"/>
                  <a:gd name="connsiteX584" fmla="*/ 15442 w 51323"/>
                  <a:gd name="connsiteY584" fmla="*/ 11577 h 51323"/>
                  <a:gd name="connsiteX585" fmla="*/ 15322 w 51323"/>
                  <a:gd name="connsiteY585" fmla="*/ 11697 h 51323"/>
                  <a:gd name="connsiteX586" fmla="*/ 15322 w 51323"/>
                  <a:gd name="connsiteY586" fmla="*/ 11783 h 51323"/>
                  <a:gd name="connsiteX587" fmla="*/ 15322 w 51323"/>
                  <a:gd name="connsiteY587" fmla="*/ 11783 h 51323"/>
                  <a:gd name="connsiteX588" fmla="*/ 15150 w 51323"/>
                  <a:gd name="connsiteY588" fmla="*/ 12006 h 51323"/>
                  <a:gd name="connsiteX589" fmla="*/ 15150 w 51323"/>
                  <a:gd name="connsiteY589" fmla="*/ 12006 h 51323"/>
                  <a:gd name="connsiteX590" fmla="*/ 15150 w 51323"/>
                  <a:gd name="connsiteY590" fmla="*/ 12144 h 51323"/>
                  <a:gd name="connsiteX591" fmla="*/ 15150 w 51323"/>
                  <a:gd name="connsiteY591" fmla="*/ 12247 h 51323"/>
                  <a:gd name="connsiteX592" fmla="*/ 14978 w 51323"/>
                  <a:gd name="connsiteY592" fmla="*/ 12247 h 51323"/>
                  <a:gd name="connsiteX593" fmla="*/ 14978 w 51323"/>
                  <a:gd name="connsiteY593" fmla="*/ 12350 h 51323"/>
                  <a:gd name="connsiteX594" fmla="*/ 15150 w 51323"/>
                  <a:gd name="connsiteY594" fmla="*/ 12350 h 51323"/>
                  <a:gd name="connsiteX595" fmla="*/ 14892 w 51323"/>
                  <a:gd name="connsiteY595" fmla="*/ 12505 h 51323"/>
                  <a:gd name="connsiteX596" fmla="*/ 14892 w 51323"/>
                  <a:gd name="connsiteY596" fmla="*/ 12608 h 51323"/>
                  <a:gd name="connsiteX597" fmla="*/ 14995 w 51323"/>
                  <a:gd name="connsiteY597" fmla="*/ 12608 h 51323"/>
                  <a:gd name="connsiteX598" fmla="*/ 14889 w 51323"/>
                  <a:gd name="connsiteY598" fmla="*/ 12770 h 51323"/>
                  <a:gd name="connsiteX599" fmla="*/ 14806 w 51323"/>
                  <a:gd name="connsiteY599" fmla="*/ 12762 h 51323"/>
                  <a:gd name="connsiteX600" fmla="*/ 14806 w 51323"/>
                  <a:gd name="connsiteY600" fmla="*/ 12917 h 51323"/>
                  <a:gd name="connsiteX601" fmla="*/ 14566 w 51323"/>
                  <a:gd name="connsiteY601" fmla="*/ 13089 h 51323"/>
                  <a:gd name="connsiteX602" fmla="*/ 14411 w 51323"/>
                  <a:gd name="connsiteY602" fmla="*/ 13312 h 51323"/>
                  <a:gd name="connsiteX603" fmla="*/ 14531 w 51323"/>
                  <a:gd name="connsiteY603" fmla="*/ 13415 h 51323"/>
                  <a:gd name="connsiteX604" fmla="*/ 14531 w 51323"/>
                  <a:gd name="connsiteY604" fmla="*/ 13501 h 51323"/>
                  <a:gd name="connsiteX605" fmla="*/ 14531 w 51323"/>
                  <a:gd name="connsiteY605" fmla="*/ 13621 h 51323"/>
                  <a:gd name="connsiteX606" fmla="*/ 14634 w 51323"/>
                  <a:gd name="connsiteY606" fmla="*/ 13621 h 51323"/>
                  <a:gd name="connsiteX607" fmla="*/ 14325 w 51323"/>
                  <a:gd name="connsiteY607" fmla="*/ 13844 h 51323"/>
                  <a:gd name="connsiteX608" fmla="*/ 14549 w 51323"/>
                  <a:gd name="connsiteY608" fmla="*/ 13844 h 51323"/>
                  <a:gd name="connsiteX609" fmla="*/ 14549 w 51323"/>
                  <a:gd name="connsiteY609" fmla="*/ 13844 h 51323"/>
                  <a:gd name="connsiteX610" fmla="*/ 14394 w 51323"/>
                  <a:gd name="connsiteY610" fmla="*/ 13999 h 51323"/>
                  <a:gd name="connsiteX611" fmla="*/ 14549 w 51323"/>
                  <a:gd name="connsiteY611" fmla="*/ 13999 h 51323"/>
                  <a:gd name="connsiteX612" fmla="*/ 14549 w 51323"/>
                  <a:gd name="connsiteY612" fmla="*/ 13999 h 51323"/>
                  <a:gd name="connsiteX613" fmla="*/ 14446 w 51323"/>
                  <a:gd name="connsiteY613" fmla="*/ 14153 h 51323"/>
                  <a:gd name="connsiteX614" fmla="*/ 14549 w 51323"/>
                  <a:gd name="connsiteY614" fmla="*/ 14153 h 51323"/>
                  <a:gd name="connsiteX615" fmla="*/ 14119 w 51323"/>
                  <a:gd name="connsiteY615" fmla="*/ 14360 h 51323"/>
                  <a:gd name="connsiteX616" fmla="*/ 13896 w 51323"/>
                  <a:gd name="connsiteY616" fmla="*/ 14497 h 51323"/>
                  <a:gd name="connsiteX617" fmla="*/ 13896 w 51323"/>
                  <a:gd name="connsiteY617" fmla="*/ 14308 h 51323"/>
                  <a:gd name="connsiteX618" fmla="*/ 13793 w 51323"/>
                  <a:gd name="connsiteY618" fmla="*/ 14634 h 51323"/>
                  <a:gd name="connsiteX619" fmla="*/ 14428 w 51323"/>
                  <a:gd name="connsiteY619" fmla="*/ 14411 h 51323"/>
                  <a:gd name="connsiteX620" fmla="*/ 14428 w 51323"/>
                  <a:gd name="connsiteY620" fmla="*/ 14617 h 51323"/>
                  <a:gd name="connsiteX621" fmla="*/ 14428 w 51323"/>
                  <a:gd name="connsiteY621" fmla="*/ 14617 h 51323"/>
                  <a:gd name="connsiteX622" fmla="*/ 14566 w 51323"/>
                  <a:gd name="connsiteY622" fmla="*/ 14617 h 51323"/>
                  <a:gd name="connsiteX623" fmla="*/ 14652 w 51323"/>
                  <a:gd name="connsiteY623" fmla="*/ 14617 h 51323"/>
                  <a:gd name="connsiteX624" fmla="*/ 14497 w 51323"/>
                  <a:gd name="connsiteY624" fmla="*/ 14772 h 51323"/>
                  <a:gd name="connsiteX625" fmla="*/ 14360 w 51323"/>
                  <a:gd name="connsiteY625" fmla="*/ 14875 h 51323"/>
                  <a:gd name="connsiteX626" fmla="*/ 14360 w 51323"/>
                  <a:gd name="connsiteY626" fmla="*/ 15012 h 51323"/>
                  <a:gd name="connsiteX627" fmla="*/ 13844 w 51323"/>
                  <a:gd name="connsiteY627" fmla="*/ 15287 h 51323"/>
                  <a:gd name="connsiteX628" fmla="*/ 13844 w 51323"/>
                  <a:gd name="connsiteY628" fmla="*/ 15287 h 51323"/>
                  <a:gd name="connsiteX629" fmla="*/ 12590 w 51323"/>
                  <a:gd name="connsiteY629" fmla="*/ 15407 h 51323"/>
                  <a:gd name="connsiteX630" fmla="*/ 12247 w 51323"/>
                  <a:gd name="connsiteY630" fmla="*/ 15253 h 51323"/>
                  <a:gd name="connsiteX631" fmla="*/ 10426 w 51323"/>
                  <a:gd name="connsiteY631" fmla="*/ 16369 h 51323"/>
                  <a:gd name="connsiteX632" fmla="*/ 11749 w 51323"/>
                  <a:gd name="connsiteY632" fmla="*/ 16369 h 51323"/>
                  <a:gd name="connsiteX633" fmla="*/ 11577 w 51323"/>
                  <a:gd name="connsiteY633" fmla="*/ 16507 h 51323"/>
                  <a:gd name="connsiteX634" fmla="*/ 11577 w 51323"/>
                  <a:gd name="connsiteY634" fmla="*/ 16936 h 51323"/>
                  <a:gd name="connsiteX635" fmla="*/ 11835 w 51323"/>
                  <a:gd name="connsiteY635" fmla="*/ 17125 h 51323"/>
                  <a:gd name="connsiteX636" fmla="*/ 11835 w 51323"/>
                  <a:gd name="connsiteY636" fmla="*/ 17245 h 51323"/>
                  <a:gd name="connsiteX637" fmla="*/ 11251 w 51323"/>
                  <a:gd name="connsiteY637" fmla="*/ 17365 h 51323"/>
                  <a:gd name="connsiteX638" fmla="*/ 10770 w 51323"/>
                  <a:gd name="connsiteY638" fmla="*/ 17743 h 51323"/>
                  <a:gd name="connsiteX639" fmla="*/ 10770 w 51323"/>
                  <a:gd name="connsiteY639" fmla="*/ 17743 h 51323"/>
                  <a:gd name="connsiteX640" fmla="*/ 10770 w 51323"/>
                  <a:gd name="connsiteY640" fmla="*/ 17640 h 51323"/>
                  <a:gd name="connsiteX641" fmla="*/ 11371 w 51323"/>
                  <a:gd name="connsiteY641" fmla="*/ 17280 h 51323"/>
                  <a:gd name="connsiteX642" fmla="*/ 11543 w 51323"/>
                  <a:gd name="connsiteY642" fmla="*/ 17194 h 51323"/>
                  <a:gd name="connsiteX643" fmla="*/ 11543 w 51323"/>
                  <a:gd name="connsiteY643" fmla="*/ 16970 h 51323"/>
                  <a:gd name="connsiteX644" fmla="*/ 11543 w 51323"/>
                  <a:gd name="connsiteY644" fmla="*/ 16970 h 51323"/>
                  <a:gd name="connsiteX645" fmla="*/ 11543 w 51323"/>
                  <a:gd name="connsiteY645" fmla="*/ 16970 h 51323"/>
                  <a:gd name="connsiteX646" fmla="*/ 11233 w 51323"/>
                  <a:gd name="connsiteY646" fmla="*/ 16970 h 51323"/>
                  <a:gd name="connsiteX647" fmla="*/ 10924 w 51323"/>
                  <a:gd name="connsiteY647" fmla="*/ 16970 h 51323"/>
                  <a:gd name="connsiteX648" fmla="*/ 10924 w 51323"/>
                  <a:gd name="connsiteY648" fmla="*/ 17159 h 51323"/>
                  <a:gd name="connsiteX649" fmla="*/ 10924 w 51323"/>
                  <a:gd name="connsiteY649" fmla="*/ 17159 h 51323"/>
                  <a:gd name="connsiteX650" fmla="*/ 10667 w 51323"/>
                  <a:gd name="connsiteY650" fmla="*/ 17159 h 51323"/>
                  <a:gd name="connsiteX651" fmla="*/ 10667 w 51323"/>
                  <a:gd name="connsiteY651" fmla="*/ 17159 h 51323"/>
                  <a:gd name="connsiteX652" fmla="*/ 10478 w 51323"/>
                  <a:gd name="connsiteY652" fmla="*/ 17331 h 51323"/>
                  <a:gd name="connsiteX653" fmla="*/ 10478 w 51323"/>
                  <a:gd name="connsiteY653" fmla="*/ 17331 h 51323"/>
                  <a:gd name="connsiteX654" fmla="*/ 10478 w 51323"/>
                  <a:gd name="connsiteY654" fmla="*/ 17331 h 51323"/>
                  <a:gd name="connsiteX655" fmla="*/ 10478 w 51323"/>
                  <a:gd name="connsiteY655" fmla="*/ 17331 h 51323"/>
                  <a:gd name="connsiteX656" fmla="*/ 10083 w 51323"/>
                  <a:gd name="connsiteY656" fmla="*/ 18001 h 51323"/>
                  <a:gd name="connsiteX657" fmla="*/ 9911 w 51323"/>
                  <a:gd name="connsiteY657" fmla="*/ 18087 h 51323"/>
                  <a:gd name="connsiteX658" fmla="*/ 9808 w 51323"/>
                  <a:gd name="connsiteY658" fmla="*/ 18087 h 51323"/>
                  <a:gd name="connsiteX659" fmla="*/ 8743 w 51323"/>
                  <a:gd name="connsiteY659" fmla="*/ 18980 h 51323"/>
                  <a:gd name="connsiteX660" fmla="*/ 8743 w 51323"/>
                  <a:gd name="connsiteY660" fmla="*/ 18980 h 51323"/>
                  <a:gd name="connsiteX661" fmla="*/ 8743 w 51323"/>
                  <a:gd name="connsiteY661" fmla="*/ 18980 h 51323"/>
                  <a:gd name="connsiteX662" fmla="*/ 8743 w 51323"/>
                  <a:gd name="connsiteY662" fmla="*/ 18740 h 51323"/>
                  <a:gd name="connsiteX663" fmla="*/ 8365 w 51323"/>
                  <a:gd name="connsiteY663" fmla="*/ 19495 h 51323"/>
                  <a:gd name="connsiteX664" fmla="*/ 8365 w 51323"/>
                  <a:gd name="connsiteY664" fmla="*/ 19495 h 51323"/>
                  <a:gd name="connsiteX665" fmla="*/ 8262 w 51323"/>
                  <a:gd name="connsiteY665" fmla="*/ 19650 h 51323"/>
                  <a:gd name="connsiteX666" fmla="*/ 8434 w 51323"/>
                  <a:gd name="connsiteY666" fmla="*/ 19341 h 51323"/>
                  <a:gd name="connsiteX667" fmla="*/ 8434 w 51323"/>
                  <a:gd name="connsiteY667" fmla="*/ 19221 h 51323"/>
                  <a:gd name="connsiteX668" fmla="*/ 8434 w 51323"/>
                  <a:gd name="connsiteY668" fmla="*/ 19221 h 51323"/>
                  <a:gd name="connsiteX669" fmla="*/ 8674 w 51323"/>
                  <a:gd name="connsiteY669" fmla="*/ 18671 h 51323"/>
                  <a:gd name="connsiteX670" fmla="*/ 8365 w 51323"/>
                  <a:gd name="connsiteY670" fmla="*/ 19221 h 51323"/>
                  <a:gd name="connsiteX671" fmla="*/ 8365 w 51323"/>
                  <a:gd name="connsiteY671" fmla="*/ 18929 h 51323"/>
                  <a:gd name="connsiteX672" fmla="*/ 8365 w 51323"/>
                  <a:gd name="connsiteY672" fmla="*/ 19324 h 51323"/>
                  <a:gd name="connsiteX673" fmla="*/ 8365 w 51323"/>
                  <a:gd name="connsiteY673" fmla="*/ 19530 h 51323"/>
                  <a:gd name="connsiteX674" fmla="*/ 8365 w 51323"/>
                  <a:gd name="connsiteY674" fmla="*/ 19650 h 51323"/>
                  <a:gd name="connsiteX675" fmla="*/ 8365 w 51323"/>
                  <a:gd name="connsiteY675" fmla="*/ 19513 h 51323"/>
                  <a:gd name="connsiteX676" fmla="*/ 8365 w 51323"/>
                  <a:gd name="connsiteY676" fmla="*/ 19856 h 51323"/>
                  <a:gd name="connsiteX677" fmla="*/ 8365 w 51323"/>
                  <a:gd name="connsiteY677" fmla="*/ 19856 h 51323"/>
                  <a:gd name="connsiteX678" fmla="*/ 8210 w 51323"/>
                  <a:gd name="connsiteY678" fmla="*/ 19976 h 51323"/>
                  <a:gd name="connsiteX679" fmla="*/ 8210 w 51323"/>
                  <a:gd name="connsiteY679" fmla="*/ 20097 h 51323"/>
                  <a:gd name="connsiteX680" fmla="*/ 8313 w 51323"/>
                  <a:gd name="connsiteY680" fmla="*/ 20234 h 51323"/>
                  <a:gd name="connsiteX681" fmla="*/ 8313 w 51323"/>
                  <a:gd name="connsiteY681" fmla="*/ 20131 h 51323"/>
                  <a:gd name="connsiteX682" fmla="*/ 8176 w 51323"/>
                  <a:gd name="connsiteY682" fmla="*/ 20354 h 51323"/>
                  <a:gd name="connsiteX683" fmla="*/ 8176 w 51323"/>
                  <a:gd name="connsiteY683" fmla="*/ 20251 h 51323"/>
                  <a:gd name="connsiteX684" fmla="*/ 8176 w 51323"/>
                  <a:gd name="connsiteY684" fmla="*/ 20251 h 51323"/>
                  <a:gd name="connsiteX685" fmla="*/ 8176 w 51323"/>
                  <a:gd name="connsiteY685" fmla="*/ 20389 h 51323"/>
                  <a:gd name="connsiteX686" fmla="*/ 8176 w 51323"/>
                  <a:gd name="connsiteY686" fmla="*/ 20389 h 51323"/>
                  <a:gd name="connsiteX687" fmla="*/ 8176 w 51323"/>
                  <a:gd name="connsiteY687" fmla="*/ 20389 h 51323"/>
                  <a:gd name="connsiteX688" fmla="*/ 8176 w 51323"/>
                  <a:gd name="connsiteY688" fmla="*/ 20389 h 51323"/>
                  <a:gd name="connsiteX689" fmla="*/ 6579 w 51323"/>
                  <a:gd name="connsiteY689" fmla="*/ 22982 h 51323"/>
                  <a:gd name="connsiteX690" fmla="*/ 6579 w 51323"/>
                  <a:gd name="connsiteY690" fmla="*/ 22982 h 51323"/>
                  <a:gd name="connsiteX691" fmla="*/ 6579 w 51323"/>
                  <a:gd name="connsiteY691" fmla="*/ 22982 h 51323"/>
                  <a:gd name="connsiteX692" fmla="*/ 6579 w 51323"/>
                  <a:gd name="connsiteY692" fmla="*/ 22982 h 51323"/>
                  <a:gd name="connsiteX693" fmla="*/ 6579 w 51323"/>
                  <a:gd name="connsiteY693" fmla="*/ 22604 h 51323"/>
                  <a:gd name="connsiteX694" fmla="*/ 6579 w 51323"/>
                  <a:gd name="connsiteY694" fmla="*/ 22707 h 51323"/>
                  <a:gd name="connsiteX695" fmla="*/ 6579 w 51323"/>
                  <a:gd name="connsiteY695" fmla="*/ 21745 h 51323"/>
                  <a:gd name="connsiteX696" fmla="*/ 6579 w 51323"/>
                  <a:gd name="connsiteY696" fmla="*/ 21745 h 51323"/>
                  <a:gd name="connsiteX697" fmla="*/ 6579 w 51323"/>
                  <a:gd name="connsiteY697" fmla="*/ 21745 h 51323"/>
                  <a:gd name="connsiteX698" fmla="*/ 6579 w 51323"/>
                  <a:gd name="connsiteY698" fmla="*/ 21745 h 51323"/>
                  <a:gd name="connsiteX699" fmla="*/ 6579 w 51323"/>
                  <a:gd name="connsiteY699" fmla="*/ 21642 h 51323"/>
                  <a:gd name="connsiteX700" fmla="*/ 6579 w 51323"/>
                  <a:gd name="connsiteY700" fmla="*/ 21522 h 51323"/>
                  <a:gd name="connsiteX701" fmla="*/ 6579 w 51323"/>
                  <a:gd name="connsiteY701" fmla="*/ 21522 h 51323"/>
                  <a:gd name="connsiteX702" fmla="*/ 6579 w 51323"/>
                  <a:gd name="connsiteY702" fmla="*/ 21385 h 51323"/>
                  <a:gd name="connsiteX703" fmla="*/ 6579 w 51323"/>
                  <a:gd name="connsiteY703" fmla="*/ 21385 h 51323"/>
                  <a:gd name="connsiteX704" fmla="*/ 6579 w 51323"/>
                  <a:gd name="connsiteY704" fmla="*/ 21385 h 51323"/>
                  <a:gd name="connsiteX705" fmla="*/ 6579 w 51323"/>
                  <a:gd name="connsiteY705" fmla="*/ 21385 h 51323"/>
                  <a:gd name="connsiteX706" fmla="*/ 6579 w 51323"/>
                  <a:gd name="connsiteY706" fmla="*/ 21230 h 51323"/>
                  <a:gd name="connsiteX707" fmla="*/ 6579 w 51323"/>
                  <a:gd name="connsiteY707" fmla="*/ 21333 h 51323"/>
                  <a:gd name="connsiteX708" fmla="*/ 6373 w 51323"/>
                  <a:gd name="connsiteY708" fmla="*/ 21453 h 51323"/>
                  <a:gd name="connsiteX709" fmla="*/ 6373 w 51323"/>
                  <a:gd name="connsiteY709" fmla="*/ 21453 h 51323"/>
                  <a:gd name="connsiteX710" fmla="*/ 6373 w 51323"/>
                  <a:gd name="connsiteY710" fmla="*/ 21849 h 51323"/>
                  <a:gd name="connsiteX711" fmla="*/ 6373 w 51323"/>
                  <a:gd name="connsiteY711" fmla="*/ 21763 h 51323"/>
                  <a:gd name="connsiteX712" fmla="*/ 6373 w 51323"/>
                  <a:gd name="connsiteY712" fmla="*/ 21660 h 51323"/>
                  <a:gd name="connsiteX713" fmla="*/ 6373 w 51323"/>
                  <a:gd name="connsiteY713" fmla="*/ 21350 h 51323"/>
                  <a:gd name="connsiteX714" fmla="*/ 6373 w 51323"/>
                  <a:gd name="connsiteY714" fmla="*/ 21350 h 51323"/>
                  <a:gd name="connsiteX715" fmla="*/ 6184 w 51323"/>
                  <a:gd name="connsiteY715" fmla="*/ 21350 h 51323"/>
                  <a:gd name="connsiteX716" fmla="*/ 6184 w 51323"/>
                  <a:gd name="connsiteY716" fmla="*/ 21127 h 51323"/>
                  <a:gd name="connsiteX717" fmla="*/ 6184 w 51323"/>
                  <a:gd name="connsiteY717" fmla="*/ 21127 h 51323"/>
                  <a:gd name="connsiteX718" fmla="*/ 6184 w 51323"/>
                  <a:gd name="connsiteY718" fmla="*/ 21385 h 51323"/>
                  <a:gd name="connsiteX719" fmla="*/ 6184 w 51323"/>
                  <a:gd name="connsiteY719" fmla="*/ 21385 h 51323"/>
                  <a:gd name="connsiteX720" fmla="*/ 6184 w 51323"/>
                  <a:gd name="connsiteY720" fmla="*/ 21505 h 51323"/>
                  <a:gd name="connsiteX721" fmla="*/ 6184 w 51323"/>
                  <a:gd name="connsiteY721" fmla="*/ 21505 h 51323"/>
                  <a:gd name="connsiteX722" fmla="*/ 6184 w 51323"/>
                  <a:gd name="connsiteY722" fmla="*/ 21505 h 51323"/>
                  <a:gd name="connsiteX723" fmla="*/ 6184 w 51323"/>
                  <a:gd name="connsiteY723" fmla="*/ 21505 h 51323"/>
                  <a:gd name="connsiteX724" fmla="*/ 6184 w 51323"/>
                  <a:gd name="connsiteY724" fmla="*/ 21505 h 51323"/>
                  <a:gd name="connsiteX725" fmla="*/ 6184 w 51323"/>
                  <a:gd name="connsiteY725" fmla="*/ 21505 h 51323"/>
                  <a:gd name="connsiteX726" fmla="*/ 6184 w 51323"/>
                  <a:gd name="connsiteY726" fmla="*/ 21608 h 51323"/>
                  <a:gd name="connsiteX727" fmla="*/ 6184 w 51323"/>
                  <a:gd name="connsiteY727" fmla="*/ 21608 h 51323"/>
                  <a:gd name="connsiteX728" fmla="*/ 5943 w 51323"/>
                  <a:gd name="connsiteY728" fmla="*/ 22553 h 51323"/>
                  <a:gd name="connsiteX729" fmla="*/ 5943 w 51323"/>
                  <a:gd name="connsiteY729" fmla="*/ 22398 h 51323"/>
                  <a:gd name="connsiteX730" fmla="*/ 5943 w 51323"/>
                  <a:gd name="connsiteY730" fmla="*/ 22621 h 51323"/>
                  <a:gd name="connsiteX731" fmla="*/ 5703 w 51323"/>
                  <a:gd name="connsiteY731" fmla="*/ 24116 h 51323"/>
                  <a:gd name="connsiteX732" fmla="*/ 5703 w 51323"/>
                  <a:gd name="connsiteY732" fmla="*/ 25507 h 51323"/>
                  <a:gd name="connsiteX733" fmla="*/ 5703 w 51323"/>
                  <a:gd name="connsiteY733" fmla="*/ 25507 h 51323"/>
                  <a:gd name="connsiteX734" fmla="*/ 5703 w 51323"/>
                  <a:gd name="connsiteY734" fmla="*/ 25421 h 51323"/>
                  <a:gd name="connsiteX735" fmla="*/ 5703 w 51323"/>
                  <a:gd name="connsiteY735" fmla="*/ 25421 h 51323"/>
                  <a:gd name="connsiteX736" fmla="*/ 5703 w 51323"/>
                  <a:gd name="connsiteY736" fmla="*/ 25421 h 51323"/>
                  <a:gd name="connsiteX737" fmla="*/ 5703 w 51323"/>
                  <a:gd name="connsiteY737" fmla="*/ 25421 h 51323"/>
                  <a:gd name="connsiteX738" fmla="*/ 5703 w 51323"/>
                  <a:gd name="connsiteY738" fmla="*/ 25627 h 51323"/>
                  <a:gd name="connsiteX739" fmla="*/ 5703 w 51323"/>
                  <a:gd name="connsiteY739" fmla="*/ 25627 h 51323"/>
                  <a:gd name="connsiteX740" fmla="*/ 5703 w 51323"/>
                  <a:gd name="connsiteY740" fmla="*/ 25627 h 51323"/>
                  <a:gd name="connsiteX741" fmla="*/ 5703 w 51323"/>
                  <a:gd name="connsiteY741" fmla="*/ 25404 h 51323"/>
                  <a:gd name="connsiteX742" fmla="*/ 5703 w 51323"/>
                  <a:gd name="connsiteY742" fmla="*/ 25404 h 51323"/>
                  <a:gd name="connsiteX743" fmla="*/ 5995 w 51323"/>
                  <a:gd name="connsiteY743" fmla="*/ 24665 h 51323"/>
                  <a:gd name="connsiteX744" fmla="*/ 5995 w 51323"/>
                  <a:gd name="connsiteY744" fmla="*/ 24665 h 51323"/>
                  <a:gd name="connsiteX745" fmla="*/ 5995 w 51323"/>
                  <a:gd name="connsiteY745" fmla="*/ 24665 h 51323"/>
                  <a:gd name="connsiteX746" fmla="*/ 5995 w 51323"/>
                  <a:gd name="connsiteY746" fmla="*/ 24665 h 51323"/>
                  <a:gd name="connsiteX747" fmla="*/ 5857 w 51323"/>
                  <a:gd name="connsiteY747" fmla="*/ 25593 h 51323"/>
                  <a:gd name="connsiteX748" fmla="*/ 5857 w 51323"/>
                  <a:gd name="connsiteY748" fmla="*/ 25919 h 51323"/>
                  <a:gd name="connsiteX749" fmla="*/ 5101 w 51323"/>
                  <a:gd name="connsiteY749" fmla="*/ 26521 h 51323"/>
                  <a:gd name="connsiteX750" fmla="*/ 4500 w 51323"/>
                  <a:gd name="connsiteY750" fmla="*/ 25765 h 51323"/>
                  <a:gd name="connsiteX751" fmla="*/ 4397 w 51323"/>
                  <a:gd name="connsiteY751" fmla="*/ 26658 h 51323"/>
                  <a:gd name="connsiteX752" fmla="*/ 4397 w 51323"/>
                  <a:gd name="connsiteY752" fmla="*/ 26658 h 51323"/>
                  <a:gd name="connsiteX753" fmla="*/ 4397 w 51323"/>
                  <a:gd name="connsiteY753" fmla="*/ 26864 h 51323"/>
                  <a:gd name="connsiteX754" fmla="*/ 4397 w 51323"/>
                  <a:gd name="connsiteY754" fmla="*/ 26864 h 51323"/>
                  <a:gd name="connsiteX755" fmla="*/ 4397 w 51323"/>
                  <a:gd name="connsiteY755" fmla="*/ 26950 h 51323"/>
                  <a:gd name="connsiteX756" fmla="*/ 4586 w 51323"/>
                  <a:gd name="connsiteY756" fmla="*/ 26950 h 51323"/>
                  <a:gd name="connsiteX757" fmla="*/ 4724 w 51323"/>
                  <a:gd name="connsiteY757" fmla="*/ 27190 h 51323"/>
                  <a:gd name="connsiteX758" fmla="*/ 4724 w 51323"/>
                  <a:gd name="connsiteY758" fmla="*/ 27190 h 51323"/>
                  <a:gd name="connsiteX759" fmla="*/ 4724 w 51323"/>
                  <a:gd name="connsiteY759" fmla="*/ 27345 h 51323"/>
                  <a:gd name="connsiteX760" fmla="*/ 4724 w 51323"/>
                  <a:gd name="connsiteY760" fmla="*/ 27448 h 51323"/>
                  <a:gd name="connsiteX761" fmla="*/ 4724 w 51323"/>
                  <a:gd name="connsiteY761" fmla="*/ 27448 h 51323"/>
                  <a:gd name="connsiteX762" fmla="*/ 4724 w 51323"/>
                  <a:gd name="connsiteY762" fmla="*/ 28152 h 51323"/>
                  <a:gd name="connsiteX763" fmla="*/ 4724 w 51323"/>
                  <a:gd name="connsiteY763" fmla="*/ 28152 h 51323"/>
                  <a:gd name="connsiteX764" fmla="*/ 4724 w 51323"/>
                  <a:gd name="connsiteY764" fmla="*/ 28616 h 51323"/>
                  <a:gd name="connsiteX765" fmla="*/ 4724 w 51323"/>
                  <a:gd name="connsiteY765" fmla="*/ 28444 h 51323"/>
                  <a:gd name="connsiteX766" fmla="*/ 4724 w 51323"/>
                  <a:gd name="connsiteY766" fmla="*/ 28805 h 51323"/>
                  <a:gd name="connsiteX767" fmla="*/ 4724 w 51323"/>
                  <a:gd name="connsiteY767" fmla="*/ 28719 h 51323"/>
                  <a:gd name="connsiteX768" fmla="*/ 4724 w 51323"/>
                  <a:gd name="connsiteY768" fmla="*/ 29149 h 51323"/>
                  <a:gd name="connsiteX769" fmla="*/ 4930 w 51323"/>
                  <a:gd name="connsiteY769" fmla="*/ 29733 h 51323"/>
                  <a:gd name="connsiteX770" fmla="*/ 5634 w 51323"/>
                  <a:gd name="connsiteY770" fmla="*/ 30471 h 51323"/>
                  <a:gd name="connsiteX771" fmla="*/ 5960 w 51323"/>
                  <a:gd name="connsiteY771" fmla="*/ 29595 h 51323"/>
                  <a:gd name="connsiteX772" fmla="*/ 5960 w 51323"/>
                  <a:gd name="connsiteY772" fmla="*/ 29475 h 51323"/>
                  <a:gd name="connsiteX773" fmla="*/ 6355 w 51323"/>
                  <a:gd name="connsiteY773" fmla="*/ 29234 h 51323"/>
                  <a:gd name="connsiteX774" fmla="*/ 6355 w 51323"/>
                  <a:gd name="connsiteY774" fmla="*/ 30145 h 51323"/>
                  <a:gd name="connsiteX775" fmla="*/ 6665 w 51323"/>
                  <a:gd name="connsiteY775" fmla="*/ 29664 h 51323"/>
                  <a:gd name="connsiteX776" fmla="*/ 6665 w 51323"/>
                  <a:gd name="connsiteY776" fmla="*/ 29441 h 51323"/>
                  <a:gd name="connsiteX777" fmla="*/ 6785 w 51323"/>
                  <a:gd name="connsiteY777" fmla="*/ 29733 h 51323"/>
                  <a:gd name="connsiteX778" fmla="*/ 7060 w 51323"/>
                  <a:gd name="connsiteY778" fmla="*/ 30007 h 51323"/>
                  <a:gd name="connsiteX779" fmla="*/ 7472 w 51323"/>
                  <a:gd name="connsiteY779" fmla="*/ 30196 h 51323"/>
                  <a:gd name="connsiteX780" fmla="*/ 8262 w 51323"/>
                  <a:gd name="connsiteY780" fmla="*/ 30402 h 51323"/>
                  <a:gd name="connsiteX781" fmla="*/ 8262 w 51323"/>
                  <a:gd name="connsiteY781" fmla="*/ 30643 h 51323"/>
                  <a:gd name="connsiteX782" fmla="*/ 8434 w 51323"/>
                  <a:gd name="connsiteY782" fmla="*/ 31107 h 51323"/>
                  <a:gd name="connsiteX783" fmla="*/ 9189 w 51323"/>
                  <a:gd name="connsiteY783" fmla="*/ 32000 h 51323"/>
                  <a:gd name="connsiteX784" fmla="*/ 9550 w 51323"/>
                  <a:gd name="connsiteY784" fmla="*/ 32309 h 51323"/>
                  <a:gd name="connsiteX785" fmla="*/ 10220 w 51323"/>
                  <a:gd name="connsiteY785" fmla="*/ 32532 h 51323"/>
                  <a:gd name="connsiteX786" fmla="*/ 10856 w 51323"/>
                  <a:gd name="connsiteY786" fmla="*/ 33151 h 51323"/>
                  <a:gd name="connsiteX787" fmla="*/ 11302 w 51323"/>
                  <a:gd name="connsiteY787" fmla="*/ 33924 h 51323"/>
                  <a:gd name="connsiteX788" fmla="*/ 11045 w 51323"/>
                  <a:gd name="connsiteY788" fmla="*/ 34868 h 51323"/>
                  <a:gd name="connsiteX789" fmla="*/ 11148 w 51323"/>
                  <a:gd name="connsiteY789" fmla="*/ 34868 h 51323"/>
                  <a:gd name="connsiteX790" fmla="*/ 11337 w 51323"/>
                  <a:gd name="connsiteY790" fmla="*/ 34731 h 51323"/>
                  <a:gd name="connsiteX791" fmla="*/ 11337 w 51323"/>
                  <a:gd name="connsiteY791" fmla="*/ 34731 h 51323"/>
                  <a:gd name="connsiteX792" fmla="*/ 11337 w 51323"/>
                  <a:gd name="connsiteY792" fmla="*/ 35092 h 51323"/>
                  <a:gd name="connsiteX793" fmla="*/ 11680 w 51323"/>
                  <a:gd name="connsiteY793" fmla="*/ 35624 h 51323"/>
                  <a:gd name="connsiteX794" fmla="*/ 12419 w 51323"/>
                  <a:gd name="connsiteY794" fmla="*/ 35074 h 51323"/>
                  <a:gd name="connsiteX795" fmla="*/ 12642 w 51323"/>
                  <a:gd name="connsiteY795" fmla="*/ 35263 h 51323"/>
                  <a:gd name="connsiteX796" fmla="*/ 12882 w 51323"/>
                  <a:gd name="connsiteY796" fmla="*/ 35469 h 51323"/>
                  <a:gd name="connsiteX797" fmla="*/ 12968 w 51323"/>
                  <a:gd name="connsiteY797" fmla="*/ 35830 h 51323"/>
                  <a:gd name="connsiteX798" fmla="*/ 12968 w 51323"/>
                  <a:gd name="connsiteY798" fmla="*/ 35710 h 51323"/>
                  <a:gd name="connsiteX799" fmla="*/ 12968 w 51323"/>
                  <a:gd name="connsiteY799" fmla="*/ 35504 h 51323"/>
                  <a:gd name="connsiteX800" fmla="*/ 13363 w 51323"/>
                  <a:gd name="connsiteY800" fmla="*/ 35641 h 51323"/>
                  <a:gd name="connsiteX801" fmla="*/ 13466 w 51323"/>
                  <a:gd name="connsiteY801" fmla="*/ 35744 h 51323"/>
                  <a:gd name="connsiteX802" fmla="*/ 13466 w 51323"/>
                  <a:gd name="connsiteY802" fmla="*/ 35744 h 51323"/>
                  <a:gd name="connsiteX803" fmla="*/ 13466 w 51323"/>
                  <a:gd name="connsiteY803" fmla="*/ 35744 h 51323"/>
                  <a:gd name="connsiteX804" fmla="*/ 13466 w 51323"/>
                  <a:gd name="connsiteY804" fmla="*/ 35744 h 51323"/>
                  <a:gd name="connsiteX805" fmla="*/ 14926 w 51323"/>
                  <a:gd name="connsiteY805" fmla="*/ 38922 h 51323"/>
                  <a:gd name="connsiteX806" fmla="*/ 14926 w 51323"/>
                  <a:gd name="connsiteY806" fmla="*/ 38819 h 51323"/>
                  <a:gd name="connsiteX807" fmla="*/ 14806 w 51323"/>
                  <a:gd name="connsiteY807" fmla="*/ 38819 h 51323"/>
                  <a:gd name="connsiteX808" fmla="*/ 14806 w 51323"/>
                  <a:gd name="connsiteY808" fmla="*/ 38819 h 51323"/>
                  <a:gd name="connsiteX809" fmla="*/ 14806 w 51323"/>
                  <a:gd name="connsiteY809" fmla="*/ 41447 h 51323"/>
                  <a:gd name="connsiteX810" fmla="*/ 14806 w 51323"/>
                  <a:gd name="connsiteY810" fmla="*/ 41447 h 51323"/>
                  <a:gd name="connsiteX811" fmla="*/ 14600 w 51323"/>
                  <a:gd name="connsiteY811" fmla="*/ 41447 h 51323"/>
                  <a:gd name="connsiteX812" fmla="*/ 14600 w 51323"/>
                  <a:gd name="connsiteY812" fmla="*/ 41687 h 51323"/>
                  <a:gd name="connsiteX813" fmla="*/ 14154 w 51323"/>
                  <a:gd name="connsiteY813" fmla="*/ 41962 h 51323"/>
                  <a:gd name="connsiteX814" fmla="*/ 14154 w 51323"/>
                  <a:gd name="connsiteY814" fmla="*/ 41962 h 51323"/>
                  <a:gd name="connsiteX815" fmla="*/ 14154 w 51323"/>
                  <a:gd name="connsiteY815" fmla="*/ 42048 h 51323"/>
                  <a:gd name="connsiteX816" fmla="*/ 14154 w 51323"/>
                  <a:gd name="connsiteY816" fmla="*/ 42048 h 51323"/>
                  <a:gd name="connsiteX817" fmla="*/ 14411 w 51323"/>
                  <a:gd name="connsiteY817" fmla="*/ 42529 h 51323"/>
                  <a:gd name="connsiteX818" fmla="*/ 14411 w 51323"/>
                  <a:gd name="connsiteY818" fmla="*/ 43336 h 51323"/>
                  <a:gd name="connsiteX819" fmla="*/ 14411 w 51323"/>
                  <a:gd name="connsiteY819" fmla="*/ 43250 h 51323"/>
                  <a:gd name="connsiteX820" fmla="*/ 14411 w 51323"/>
                  <a:gd name="connsiteY820" fmla="*/ 43113 h 51323"/>
                  <a:gd name="connsiteX821" fmla="*/ 14171 w 51323"/>
                  <a:gd name="connsiteY821" fmla="*/ 42924 h 51323"/>
                  <a:gd name="connsiteX822" fmla="*/ 14325 w 51323"/>
                  <a:gd name="connsiteY822" fmla="*/ 43113 h 51323"/>
                  <a:gd name="connsiteX823" fmla="*/ 14325 w 51323"/>
                  <a:gd name="connsiteY823" fmla="*/ 43250 h 51323"/>
                  <a:gd name="connsiteX824" fmla="*/ 13844 w 51323"/>
                  <a:gd name="connsiteY824" fmla="*/ 43817 h 51323"/>
                  <a:gd name="connsiteX825" fmla="*/ 14549 w 51323"/>
                  <a:gd name="connsiteY825" fmla="*/ 44418 h 51323"/>
                  <a:gd name="connsiteX826" fmla="*/ 14549 w 51323"/>
                  <a:gd name="connsiteY826" fmla="*/ 44418 h 51323"/>
                  <a:gd name="connsiteX827" fmla="*/ 14755 w 51323"/>
                  <a:gd name="connsiteY827" fmla="*/ 44693 h 51323"/>
                  <a:gd name="connsiteX828" fmla="*/ 14755 w 51323"/>
                  <a:gd name="connsiteY828" fmla="*/ 44693 h 51323"/>
                  <a:gd name="connsiteX829" fmla="*/ 14755 w 51323"/>
                  <a:gd name="connsiteY829" fmla="*/ 44882 h 51323"/>
                  <a:gd name="connsiteX830" fmla="*/ 14291 w 51323"/>
                  <a:gd name="connsiteY830" fmla="*/ 44882 h 51323"/>
                  <a:gd name="connsiteX831" fmla="*/ 14566 w 51323"/>
                  <a:gd name="connsiteY831" fmla="*/ 45123 h 51323"/>
                  <a:gd name="connsiteX832" fmla="*/ 14566 w 51323"/>
                  <a:gd name="connsiteY832" fmla="*/ 45123 h 51323"/>
                  <a:gd name="connsiteX833" fmla="*/ 14463 w 51323"/>
                  <a:gd name="connsiteY833" fmla="*/ 45294 h 51323"/>
                  <a:gd name="connsiteX834" fmla="*/ 15012 w 51323"/>
                  <a:gd name="connsiteY834" fmla="*/ 45707 h 51323"/>
                  <a:gd name="connsiteX835" fmla="*/ 15012 w 51323"/>
                  <a:gd name="connsiteY835" fmla="*/ 45707 h 51323"/>
                  <a:gd name="connsiteX836" fmla="*/ 15012 w 51323"/>
                  <a:gd name="connsiteY836" fmla="*/ 45707 h 51323"/>
                  <a:gd name="connsiteX837" fmla="*/ 15717 w 51323"/>
                  <a:gd name="connsiteY837" fmla="*/ 46359 h 51323"/>
                  <a:gd name="connsiteX838" fmla="*/ 15717 w 51323"/>
                  <a:gd name="connsiteY838" fmla="*/ 46359 h 51323"/>
                  <a:gd name="connsiteX839" fmla="*/ 15717 w 51323"/>
                  <a:gd name="connsiteY839" fmla="*/ 46359 h 51323"/>
                  <a:gd name="connsiteX840" fmla="*/ 15717 w 51323"/>
                  <a:gd name="connsiteY840" fmla="*/ 46359 h 51323"/>
                  <a:gd name="connsiteX841" fmla="*/ 16730 w 51323"/>
                  <a:gd name="connsiteY841" fmla="*/ 47012 h 51323"/>
                  <a:gd name="connsiteX842" fmla="*/ 16730 w 51323"/>
                  <a:gd name="connsiteY842" fmla="*/ 47012 h 51323"/>
                  <a:gd name="connsiteX843" fmla="*/ 16730 w 51323"/>
                  <a:gd name="connsiteY843" fmla="*/ 47012 h 51323"/>
                  <a:gd name="connsiteX844" fmla="*/ 16730 w 51323"/>
                  <a:gd name="connsiteY844" fmla="*/ 47012 h 51323"/>
                  <a:gd name="connsiteX845" fmla="*/ 16885 w 51323"/>
                  <a:gd name="connsiteY845" fmla="*/ 47132 h 51323"/>
                  <a:gd name="connsiteX846" fmla="*/ 16885 w 51323"/>
                  <a:gd name="connsiteY846" fmla="*/ 47132 h 51323"/>
                  <a:gd name="connsiteX847" fmla="*/ 17091 w 51323"/>
                  <a:gd name="connsiteY847" fmla="*/ 47270 h 51323"/>
                  <a:gd name="connsiteX848" fmla="*/ 16988 w 51323"/>
                  <a:gd name="connsiteY848" fmla="*/ 47270 h 51323"/>
                  <a:gd name="connsiteX849" fmla="*/ 17898 w 51323"/>
                  <a:gd name="connsiteY849" fmla="*/ 47751 h 51323"/>
                  <a:gd name="connsiteX850" fmla="*/ 17898 w 51323"/>
                  <a:gd name="connsiteY850" fmla="*/ 47751 h 51323"/>
                  <a:gd name="connsiteX851" fmla="*/ 17898 w 51323"/>
                  <a:gd name="connsiteY851" fmla="*/ 47751 h 51323"/>
                  <a:gd name="connsiteX852" fmla="*/ 17898 w 51323"/>
                  <a:gd name="connsiteY852" fmla="*/ 47751 h 51323"/>
                  <a:gd name="connsiteX853" fmla="*/ 18396 w 51323"/>
                  <a:gd name="connsiteY853" fmla="*/ 48008 h 51323"/>
                  <a:gd name="connsiteX854" fmla="*/ 18173 w 51323"/>
                  <a:gd name="connsiteY854" fmla="*/ 48008 h 51323"/>
                  <a:gd name="connsiteX855" fmla="*/ 20560 w 51323"/>
                  <a:gd name="connsiteY855" fmla="*/ 10117 h 51323"/>
                  <a:gd name="connsiteX856" fmla="*/ 20560 w 51323"/>
                  <a:gd name="connsiteY856" fmla="*/ 9980 h 51323"/>
                  <a:gd name="connsiteX857" fmla="*/ 20286 w 51323"/>
                  <a:gd name="connsiteY857" fmla="*/ 10323 h 51323"/>
                  <a:gd name="connsiteX858" fmla="*/ 19289 w 51323"/>
                  <a:gd name="connsiteY858" fmla="*/ 10907 h 51323"/>
                  <a:gd name="connsiteX859" fmla="*/ 19152 w 51323"/>
                  <a:gd name="connsiteY859" fmla="*/ 11165 h 51323"/>
                  <a:gd name="connsiteX860" fmla="*/ 19152 w 51323"/>
                  <a:gd name="connsiteY860" fmla="*/ 11165 h 51323"/>
                  <a:gd name="connsiteX861" fmla="*/ 18997 w 51323"/>
                  <a:gd name="connsiteY861" fmla="*/ 11165 h 51323"/>
                  <a:gd name="connsiteX862" fmla="*/ 18585 w 51323"/>
                  <a:gd name="connsiteY862" fmla="*/ 11577 h 51323"/>
                  <a:gd name="connsiteX863" fmla="*/ 18259 w 51323"/>
                  <a:gd name="connsiteY863" fmla="*/ 11903 h 51323"/>
                  <a:gd name="connsiteX864" fmla="*/ 18001 w 51323"/>
                  <a:gd name="connsiteY864" fmla="*/ 12109 h 51323"/>
                  <a:gd name="connsiteX865" fmla="*/ 17743 w 51323"/>
                  <a:gd name="connsiteY865" fmla="*/ 12006 h 51323"/>
                  <a:gd name="connsiteX866" fmla="*/ 17503 w 51323"/>
                  <a:gd name="connsiteY866" fmla="*/ 11783 h 51323"/>
                  <a:gd name="connsiteX867" fmla="*/ 18018 w 51323"/>
                  <a:gd name="connsiteY867" fmla="*/ 10461 h 51323"/>
                  <a:gd name="connsiteX868" fmla="*/ 18448 w 51323"/>
                  <a:gd name="connsiteY868" fmla="*/ 10134 h 51323"/>
                  <a:gd name="connsiteX869" fmla="*/ 18448 w 51323"/>
                  <a:gd name="connsiteY869" fmla="*/ 9739 h 51323"/>
                  <a:gd name="connsiteX870" fmla="*/ 18345 w 51323"/>
                  <a:gd name="connsiteY870" fmla="*/ 9739 h 51323"/>
                  <a:gd name="connsiteX871" fmla="*/ 18963 w 51323"/>
                  <a:gd name="connsiteY871" fmla="*/ 9344 h 51323"/>
                  <a:gd name="connsiteX872" fmla="*/ 18774 w 51323"/>
                  <a:gd name="connsiteY872" fmla="*/ 9104 h 51323"/>
                  <a:gd name="connsiteX873" fmla="*/ 19324 w 51323"/>
                  <a:gd name="connsiteY873" fmla="*/ 9104 h 51323"/>
                  <a:gd name="connsiteX874" fmla="*/ 19324 w 51323"/>
                  <a:gd name="connsiteY874" fmla="*/ 8966 h 51323"/>
                  <a:gd name="connsiteX875" fmla="*/ 18946 w 51323"/>
                  <a:gd name="connsiteY875" fmla="*/ 8966 h 51323"/>
                  <a:gd name="connsiteX876" fmla="*/ 19598 w 51323"/>
                  <a:gd name="connsiteY876" fmla="*/ 8674 h 51323"/>
                  <a:gd name="connsiteX877" fmla="*/ 19598 w 51323"/>
                  <a:gd name="connsiteY877" fmla="*/ 8674 h 51323"/>
                  <a:gd name="connsiteX878" fmla="*/ 20182 w 51323"/>
                  <a:gd name="connsiteY878" fmla="*/ 8193 h 51323"/>
                  <a:gd name="connsiteX879" fmla="*/ 20354 w 51323"/>
                  <a:gd name="connsiteY879" fmla="*/ 7953 h 51323"/>
                  <a:gd name="connsiteX880" fmla="*/ 20560 w 51323"/>
                  <a:gd name="connsiteY880" fmla="*/ 7764 h 51323"/>
                  <a:gd name="connsiteX881" fmla="*/ 20681 w 51323"/>
                  <a:gd name="connsiteY881" fmla="*/ 7386 h 51323"/>
                  <a:gd name="connsiteX882" fmla="*/ 21746 w 51323"/>
                  <a:gd name="connsiteY882" fmla="*/ 6338 h 51323"/>
                  <a:gd name="connsiteX883" fmla="*/ 22914 w 51323"/>
                  <a:gd name="connsiteY883" fmla="*/ 4981 h 51323"/>
                  <a:gd name="connsiteX884" fmla="*/ 23326 w 51323"/>
                  <a:gd name="connsiteY884" fmla="*/ 4844 h 51323"/>
                  <a:gd name="connsiteX885" fmla="*/ 26761 w 51323"/>
                  <a:gd name="connsiteY885" fmla="*/ 3693 h 51323"/>
                  <a:gd name="connsiteX886" fmla="*/ 26881 w 51323"/>
                  <a:gd name="connsiteY886" fmla="*/ 3693 h 51323"/>
                  <a:gd name="connsiteX887" fmla="*/ 26607 w 51323"/>
                  <a:gd name="connsiteY887" fmla="*/ 3951 h 51323"/>
                  <a:gd name="connsiteX888" fmla="*/ 26211 w 51323"/>
                  <a:gd name="connsiteY888" fmla="*/ 4208 h 51323"/>
                  <a:gd name="connsiteX889" fmla="*/ 26211 w 51323"/>
                  <a:gd name="connsiteY889" fmla="*/ 4329 h 51323"/>
                  <a:gd name="connsiteX890" fmla="*/ 26074 w 51323"/>
                  <a:gd name="connsiteY890" fmla="*/ 4500 h 51323"/>
                  <a:gd name="connsiteX891" fmla="*/ 26383 w 51323"/>
                  <a:gd name="connsiteY891" fmla="*/ 4621 h 51323"/>
                  <a:gd name="connsiteX892" fmla="*/ 26057 w 51323"/>
                  <a:gd name="connsiteY892" fmla="*/ 4947 h 51323"/>
                  <a:gd name="connsiteX893" fmla="*/ 25301 w 51323"/>
                  <a:gd name="connsiteY893" fmla="*/ 6235 h 51323"/>
                  <a:gd name="connsiteX894" fmla="*/ 25112 w 51323"/>
                  <a:gd name="connsiteY894" fmla="*/ 6373 h 51323"/>
                  <a:gd name="connsiteX895" fmla="*/ 25009 w 51323"/>
                  <a:gd name="connsiteY895" fmla="*/ 6596 h 51323"/>
                  <a:gd name="connsiteX896" fmla="*/ 24751 w 51323"/>
                  <a:gd name="connsiteY896" fmla="*/ 6596 h 51323"/>
                  <a:gd name="connsiteX897" fmla="*/ 24751 w 51323"/>
                  <a:gd name="connsiteY897" fmla="*/ 6768 h 51323"/>
                  <a:gd name="connsiteX898" fmla="*/ 24751 w 51323"/>
                  <a:gd name="connsiteY898" fmla="*/ 7180 h 51323"/>
                  <a:gd name="connsiteX899" fmla="*/ 24442 w 51323"/>
                  <a:gd name="connsiteY899" fmla="*/ 7489 h 51323"/>
                  <a:gd name="connsiteX900" fmla="*/ 24133 w 51323"/>
                  <a:gd name="connsiteY900" fmla="*/ 7489 h 51323"/>
                  <a:gd name="connsiteX901" fmla="*/ 23738 w 51323"/>
                  <a:gd name="connsiteY901" fmla="*/ 7626 h 51323"/>
                  <a:gd name="connsiteX902" fmla="*/ 23738 w 51323"/>
                  <a:gd name="connsiteY902" fmla="*/ 7781 h 51323"/>
                  <a:gd name="connsiteX903" fmla="*/ 23824 w 51323"/>
                  <a:gd name="connsiteY903" fmla="*/ 7987 h 51323"/>
                  <a:gd name="connsiteX904" fmla="*/ 23583 w 51323"/>
                  <a:gd name="connsiteY904" fmla="*/ 8262 h 51323"/>
                  <a:gd name="connsiteX905" fmla="*/ 23137 w 51323"/>
                  <a:gd name="connsiteY905" fmla="*/ 8520 h 51323"/>
                  <a:gd name="connsiteX906" fmla="*/ 22931 w 51323"/>
                  <a:gd name="connsiteY906" fmla="*/ 8726 h 51323"/>
                  <a:gd name="connsiteX907" fmla="*/ 22931 w 51323"/>
                  <a:gd name="connsiteY907" fmla="*/ 8846 h 51323"/>
                  <a:gd name="connsiteX908" fmla="*/ 23446 w 51323"/>
                  <a:gd name="connsiteY908" fmla="*/ 9121 h 51323"/>
                  <a:gd name="connsiteX909" fmla="*/ 23137 w 51323"/>
                  <a:gd name="connsiteY909" fmla="*/ 9275 h 51323"/>
                  <a:gd name="connsiteX910" fmla="*/ 21952 w 51323"/>
                  <a:gd name="connsiteY910" fmla="*/ 9396 h 51323"/>
                  <a:gd name="connsiteX911" fmla="*/ 21831 w 51323"/>
                  <a:gd name="connsiteY911" fmla="*/ 9653 h 51323"/>
                  <a:gd name="connsiteX912" fmla="*/ 20560 w 51323"/>
                  <a:gd name="connsiteY912" fmla="*/ 10117 h 51323"/>
                  <a:gd name="connsiteX913" fmla="*/ 23669 w 51323"/>
                  <a:gd name="connsiteY913" fmla="*/ 11440 h 51323"/>
                  <a:gd name="connsiteX914" fmla="*/ 23412 w 51323"/>
                  <a:gd name="connsiteY914" fmla="*/ 11440 h 51323"/>
                  <a:gd name="connsiteX915" fmla="*/ 23274 w 51323"/>
                  <a:gd name="connsiteY915" fmla="*/ 11319 h 51323"/>
                  <a:gd name="connsiteX916" fmla="*/ 23274 w 51323"/>
                  <a:gd name="connsiteY916" fmla="*/ 11319 h 51323"/>
                  <a:gd name="connsiteX917" fmla="*/ 22965 w 51323"/>
                  <a:gd name="connsiteY917" fmla="*/ 11319 h 51323"/>
                  <a:gd name="connsiteX918" fmla="*/ 22965 w 51323"/>
                  <a:gd name="connsiteY918" fmla="*/ 11319 h 51323"/>
                  <a:gd name="connsiteX919" fmla="*/ 22965 w 51323"/>
                  <a:gd name="connsiteY919" fmla="*/ 11233 h 51323"/>
                  <a:gd name="connsiteX920" fmla="*/ 22965 w 51323"/>
                  <a:gd name="connsiteY920" fmla="*/ 11233 h 51323"/>
                  <a:gd name="connsiteX921" fmla="*/ 23206 w 51323"/>
                  <a:gd name="connsiteY921" fmla="*/ 11148 h 51323"/>
                  <a:gd name="connsiteX922" fmla="*/ 23206 w 51323"/>
                  <a:gd name="connsiteY922" fmla="*/ 11027 h 51323"/>
                  <a:gd name="connsiteX923" fmla="*/ 23206 w 51323"/>
                  <a:gd name="connsiteY923" fmla="*/ 10941 h 51323"/>
                  <a:gd name="connsiteX924" fmla="*/ 22948 w 51323"/>
                  <a:gd name="connsiteY924" fmla="*/ 10821 h 51323"/>
                  <a:gd name="connsiteX925" fmla="*/ 23223 w 51323"/>
                  <a:gd name="connsiteY925" fmla="*/ 10821 h 51323"/>
                  <a:gd name="connsiteX926" fmla="*/ 23412 w 51323"/>
                  <a:gd name="connsiteY926" fmla="*/ 10718 h 51323"/>
                  <a:gd name="connsiteX927" fmla="*/ 23412 w 51323"/>
                  <a:gd name="connsiteY927" fmla="*/ 10718 h 51323"/>
                  <a:gd name="connsiteX928" fmla="*/ 23412 w 51323"/>
                  <a:gd name="connsiteY928" fmla="*/ 10632 h 51323"/>
                  <a:gd name="connsiteX929" fmla="*/ 23412 w 51323"/>
                  <a:gd name="connsiteY929" fmla="*/ 10632 h 51323"/>
                  <a:gd name="connsiteX930" fmla="*/ 23412 w 51323"/>
                  <a:gd name="connsiteY930" fmla="*/ 10632 h 51323"/>
                  <a:gd name="connsiteX931" fmla="*/ 23412 w 51323"/>
                  <a:gd name="connsiteY931" fmla="*/ 10632 h 51323"/>
                  <a:gd name="connsiteX932" fmla="*/ 23291 w 51323"/>
                  <a:gd name="connsiteY932" fmla="*/ 10632 h 51323"/>
                  <a:gd name="connsiteX933" fmla="*/ 23291 w 51323"/>
                  <a:gd name="connsiteY933" fmla="*/ 10632 h 51323"/>
                  <a:gd name="connsiteX934" fmla="*/ 23291 w 51323"/>
                  <a:gd name="connsiteY934" fmla="*/ 10632 h 51323"/>
                  <a:gd name="connsiteX935" fmla="*/ 23291 w 51323"/>
                  <a:gd name="connsiteY935" fmla="*/ 10632 h 51323"/>
                  <a:gd name="connsiteX936" fmla="*/ 23291 w 51323"/>
                  <a:gd name="connsiteY936" fmla="*/ 10632 h 51323"/>
                  <a:gd name="connsiteX937" fmla="*/ 23291 w 51323"/>
                  <a:gd name="connsiteY937" fmla="*/ 10632 h 51323"/>
                  <a:gd name="connsiteX938" fmla="*/ 23291 w 51323"/>
                  <a:gd name="connsiteY938" fmla="*/ 10632 h 51323"/>
                  <a:gd name="connsiteX939" fmla="*/ 23291 w 51323"/>
                  <a:gd name="connsiteY939" fmla="*/ 10478 h 51323"/>
                  <a:gd name="connsiteX940" fmla="*/ 23291 w 51323"/>
                  <a:gd name="connsiteY940" fmla="*/ 10581 h 51323"/>
                  <a:gd name="connsiteX941" fmla="*/ 23291 w 51323"/>
                  <a:gd name="connsiteY941" fmla="*/ 10581 h 51323"/>
                  <a:gd name="connsiteX942" fmla="*/ 23291 w 51323"/>
                  <a:gd name="connsiteY942" fmla="*/ 10581 h 51323"/>
                  <a:gd name="connsiteX943" fmla="*/ 23291 w 51323"/>
                  <a:gd name="connsiteY943" fmla="*/ 10667 h 51323"/>
                  <a:gd name="connsiteX944" fmla="*/ 23291 w 51323"/>
                  <a:gd name="connsiteY944" fmla="*/ 10787 h 51323"/>
                  <a:gd name="connsiteX945" fmla="*/ 23291 w 51323"/>
                  <a:gd name="connsiteY945" fmla="*/ 10873 h 51323"/>
                  <a:gd name="connsiteX946" fmla="*/ 23429 w 51323"/>
                  <a:gd name="connsiteY946" fmla="*/ 10701 h 51323"/>
                  <a:gd name="connsiteX947" fmla="*/ 23601 w 51323"/>
                  <a:gd name="connsiteY947" fmla="*/ 10461 h 51323"/>
                  <a:gd name="connsiteX948" fmla="*/ 23601 w 51323"/>
                  <a:gd name="connsiteY948" fmla="*/ 10598 h 51323"/>
                  <a:gd name="connsiteX949" fmla="*/ 23790 w 51323"/>
                  <a:gd name="connsiteY949" fmla="*/ 10478 h 51323"/>
                  <a:gd name="connsiteX950" fmla="*/ 23790 w 51323"/>
                  <a:gd name="connsiteY950" fmla="*/ 10787 h 51323"/>
                  <a:gd name="connsiteX951" fmla="*/ 23961 w 51323"/>
                  <a:gd name="connsiteY951" fmla="*/ 10512 h 51323"/>
                  <a:gd name="connsiteX952" fmla="*/ 24099 w 51323"/>
                  <a:gd name="connsiteY952" fmla="*/ 10512 h 51323"/>
                  <a:gd name="connsiteX953" fmla="*/ 24322 w 51323"/>
                  <a:gd name="connsiteY953" fmla="*/ 10512 h 51323"/>
                  <a:gd name="connsiteX954" fmla="*/ 24528 w 51323"/>
                  <a:gd name="connsiteY954" fmla="*/ 10512 h 51323"/>
                  <a:gd name="connsiteX955" fmla="*/ 24528 w 51323"/>
                  <a:gd name="connsiteY955" fmla="*/ 10632 h 51323"/>
                  <a:gd name="connsiteX956" fmla="*/ 24528 w 51323"/>
                  <a:gd name="connsiteY956" fmla="*/ 10804 h 51323"/>
                  <a:gd name="connsiteX957" fmla="*/ 24528 w 51323"/>
                  <a:gd name="connsiteY957" fmla="*/ 10804 h 51323"/>
                  <a:gd name="connsiteX958" fmla="*/ 24528 w 51323"/>
                  <a:gd name="connsiteY958" fmla="*/ 10924 h 51323"/>
                  <a:gd name="connsiteX959" fmla="*/ 24528 w 51323"/>
                  <a:gd name="connsiteY959" fmla="*/ 11148 h 51323"/>
                  <a:gd name="connsiteX960" fmla="*/ 24288 w 51323"/>
                  <a:gd name="connsiteY960" fmla="*/ 11148 h 51323"/>
                  <a:gd name="connsiteX961" fmla="*/ 23978 w 51323"/>
                  <a:gd name="connsiteY961" fmla="*/ 11388 h 51323"/>
                  <a:gd name="connsiteX962" fmla="*/ 23978 w 51323"/>
                  <a:gd name="connsiteY962" fmla="*/ 11388 h 51323"/>
                  <a:gd name="connsiteX963" fmla="*/ 23790 w 51323"/>
                  <a:gd name="connsiteY963" fmla="*/ 11388 h 51323"/>
                  <a:gd name="connsiteX964" fmla="*/ 23790 w 51323"/>
                  <a:gd name="connsiteY964" fmla="*/ 11388 h 51323"/>
                  <a:gd name="connsiteX965" fmla="*/ 23669 w 51323"/>
                  <a:gd name="connsiteY965" fmla="*/ 11440 h 51323"/>
                  <a:gd name="connsiteX966" fmla="*/ 38184 w 51323"/>
                  <a:gd name="connsiteY966" fmla="*/ 41533 h 51323"/>
                  <a:gd name="connsiteX967" fmla="*/ 38802 w 51323"/>
                  <a:gd name="connsiteY967" fmla="*/ 40640 h 51323"/>
                  <a:gd name="connsiteX968" fmla="*/ 39540 w 51323"/>
                  <a:gd name="connsiteY968" fmla="*/ 39523 h 51323"/>
                  <a:gd name="connsiteX969" fmla="*/ 39540 w 51323"/>
                  <a:gd name="connsiteY969" fmla="*/ 39523 h 51323"/>
                  <a:gd name="connsiteX970" fmla="*/ 39540 w 51323"/>
                  <a:gd name="connsiteY970" fmla="*/ 39523 h 51323"/>
                  <a:gd name="connsiteX971" fmla="*/ 39781 w 51323"/>
                  <a:gd name="connsiteY971" fmla="*/ 39386 h 51323"/>
                  <a:gd name="connsiteX972" fmla="*/ 39953 w 51323"/>
                  <a:gd name="connsiteY972" fmla="*/ 39386 h 51323"/>
                  <a:gd name="connsiteX973" fmla="*/ 39953 w 51323"/>
                  <a:gd name="connsiteY973" fmla="*/ 39386 h 51323"/>
                  <a:gd name="connsiteX974" fmla="*/ 39953 w 51323"/>
                  <a:gd name="connsiteY974" fmla="*/ 39248 h 51323"/>
                  <a:gd name="connsiteX975" fmla="*/ 39953 w 51323"/>
                  <a:gd name="connsiteY975" fmla="*/ 39248 h 51323"/>
                  <a:gd name="connsiteX976" fmla="*/ 39953 w 51323"/>
                  <a:gd name="connsiteY976" fmla="*/ 39248 h 51323"/>
                  <a:gd name="connsiteX977" fmla="*/ 39953 w 51323"/>
                  <a:gd name="connsiteY977" fmla="*/ 39369 h 51323"/>
                  <a:gd name="connsiteX978" fmla="*/ 40107 w 51323"/>
                  <a:gd name="connsiteY978" fmla="*/ 39266 h 51323"/>
                  <a:gd name="connsiteX979" fmla="*/ 40107 w 51323"/>
                  <a:gd name="connsiteY979" fmla="*/ 39145 h 51323"/>
                  <a:gd name="connsiteX980" fmla="*/ 40107 w 51323"/>
                  <a:gd name="connsiteY980" fmla="*/ 39042 h 51323"/>
                  <a:gd name="connsiteX981" fmla="*/ 40262 w 51323"/>
                  <a:gd name="connsiteY981" fmla="*/ 38939 h 51323"/>
                  <a:gd name="connsiteX982" fmla="*/ 40485 w 51323"/>
                  <a:gd name="connsiteY982" fmla="*/ 38561 h 51323"/>
                  <a:gd name="connsiteX983" fmla="*/ 40674 w 51323"/>
                  <a:gd name="connsiteY983" fmla="*/ 38441 h 51323"/>
                  <a:gd name="connsiteX984" fmla="*/ 40674 w 51323"/>
                  <a:gd name="connsiteY984" fmla="*/ 38664 h 51323"/>
                  <a:gd name="connsiteX985" fmla="*/ 38184 w 51323"/>
                  <a:gd name="connsiteY985" fmla="*/ 41533 h 51323"/>
                  <a:gd name="connsiteX986" fmla="*/ 49159 w 51323"/>
                  <a:gd name="connsiteY986" fmla="*/ 26589 h 51323"/>
                  <a:gd name="connsiteX987" fmla="*/ 49159 w 51323"/>
                  <a:gd name="connsiteY987" fmla="*/ 26589 h 51323"/>
                  <a:gd name="connsiteX988" fmla="*/ 48386 w 51323"/>
                  <a:gd name="connsiteY988" fmla="*/ 30643 h 51323"/>
                  <a:gd name="connsiteX989" fmla="*/ 48215 w 51323"/>
                  <a:gd name="connsiteY989" fmla="*/ 30849 h 51323"/>
                  <a:gd name="connsiteX990" fmla="*/ 47613 w 51323"/>
                  <a:gd name="connsiteY990" fmla="*/ 26452 h 51323"/>
                  <a:gd name="connsiteX991" fmla="*/ 47613 w 51323"/>
                  <a:gd name="connsiteY991" fmla="*/ 26160 h 51323"/>
                  <a:gd name="connsiteX992" fmla="*/ 47528 w 51323"/>
                  <a:gd name="connsiteY992" fmla="*/ 26160 h 51323"/>
                  <a:gd name="connsiteX993" fmla="*/ 47098 w 51323"/>
                  <a:gd name="connsiteY993" fmla="*/ 26606 h 51323"/>
                  <a:gd name="connsiteX994" fmla="*/ 46995 w 51323"/>
                  <a:gd name="connsiteY994" fmla="*/ 26383 h 51323"/>
                  <a:gd name="connsiteX995" fmla="*/ 46995 w 51323"/>
                  <a:gd name="connsiteY995" fmla="*/ 26383 h 51323"/>
                  <a:gd name="connsiteX996" fmla="*/ 46995 w 51323"/>
                  <a:gd name="connsiteY996" fmla="*/ 26383 h 51323"/>
                  <a:gd name="connsiteX997" fmla="*/ 47081 w 51323"/>
                  <a:gd name="connsiteY997" fmla="*/ 26040 h 51323"/>
                  <a:gd name="connsiteX998" fmla="*/ 46806 w 51323"/>
                  <a:gd name="connsiteY998" fmla="*/ 25833 h 51323"/>
                  <a:gd name="connsiteX999" fmla="*/ 46686 w 51323"/>
                  <a:gd name="connsiteY999" fmla="*/ 25971 h 51323"/>
                  <a:gd name="connsiteX1000" fmla="*/ 46549 w 51323"/>
                  <a:gd name="connsiteY1000" fmla="*/ 25971 h 51323"/>
                  <a:gd name="connsiteX1001" fmla="*/ 46428 w 51323"/>
                  <a:gd name="connsiteY1001" fmla="*/ 25559 h 51323"/>
                  <a:gd name="connsiteX1002" fmla="*/ 46119 w 51323"/>
                  <a:gd name="connsiteY1002" fmla="*/ 25438 h 51323"/>
                  <a:gd name="connsiteX1003" fmla="*/ 45913 w 51323"/>
                  <a:gd name="connsiteY1003" fmla="*/ 25610 h 51323"/>
                  <a:gd name="connsiteX1004" fmla="*/ 45741 w 51323"/>
                  <a:gd name="connsiteY1004" fmla="*/ 25610 h 51323"/>
                  <a:gd name="connsiteX1005" fmla="*/ 45552 w 51323"/>
                  <a:gd name="connsiteY1005" fmla="*/ 25765 h 51323"/>
                  <a:gd name="connsiteX1006" fmla="*/ 45432 w 51323"/>
                  <a:gd name="connsiteY1006" fmla="*/ 25765 h 51323"/>
                  <a:gd name="connsiteX1007" fmla="*/ 45209 w 51323"/>
                  <a:gd name="connsiteY1007" fmla="*/ 25679 h 51323"/>
                  <a:gd name="connsiteX1008" fmla="*/ 44728 w 51323"/>
                  <a:gd name="connsiteY1008" fmla="*/ 25679 h 51323"/>
                  <a:gd name="connsiteX1009" fmla="*/ 44453 w 51323"/>
                  <a:gd name="connsiteY1009" fmla="*/ 25679 h 51323"/>
                  <a:gd name="connsiteX1010" fmla="*/ 43663 w 51323"/>
                  <a:gd name="connsiteY1010" fmla="*/ 25404 h 51323"/>
                  <a:gd name="connsiteX1011" fmla="*/ 43285 w 51323"/>
                  <a:gd name="connsiteY1011" fmla="*/ 25146 h 51323"/>
                  <a:gd name="connsiteX1012" fmla="*/ 42804 w 51323"/>
                  <a:gd name="connsiteY1012" fmla="*/ 24803 h 51323"/>
                  <a:gd name="connsiteX1013" fmla="*/ 42804 w 51323"/>
                  <a:gd name="connsiteY1013" fmla="*/ 24803 h 51323"/>
                  <a:gd name="connsiteX1014" fmla="*/ 42375 w 51323"/>
                  <a:gd name="connsiteY1014" fmla="*/ 24425 h 51323"/>
                  <a:gd name="connsiteX1015" fmla="*/ 42272 w 51323"/>
                  <a:gd name="connsiteY1015" fmla="*/ 24270 h 51323"/>
                  <a:gd name="connsiteX1016" fmla="*/ 42272 w 51323"/>
                  <a:gd name="connsiteY1016" fmla="*/ 24270 h 51323"/>
                  <a:gd name="connsiteX1017" fmla="*/ 42272 w 51323"/>
                  <a:gd name="connsiteY1017" fmla="*/ 24270 h 51323"/>
                  <a:gd name="connsiteX1018" fmla="*/ 42100 w 51323"/>
                  <a:gd name="connsiteY1018" fmla="*/ 24597 h 51323"/>
                  <a:gd name="connsiteX1019" fmla="*/ 42220 w 51323"/>
                  <a:gd name="connsiteY1019" fmla="*/ 24597 h 51323"/>
                  <a:gd name="connsiteX1020" fmla="*/ 42220 w 51323"/>
                  <a:gd name="connsiteY1020" fmla="*/ 24597 h 51323"/>
                  <a:gd name="connsiteX1021" fmla="*/ 42220 w 51323"/>
                  <a:gd name="connsiteY1021" fmla="*/ 24734 h 51323"/>
                  <a:gd name="connsiteX1022" fmla="*/ 42220 w 51323"/>
                  <a:gd name="connsiteY1022" fmla="*/ 24734 h 51323"/>
                  <a:gd name="connsiteX1023" fmla="*/ 42512 w 51323"/>
                  <a:gd name="connsiteY1023" fmla="*/ 25112 h 51323"/>
                  <a:gd name="connsiteX1024" fmla="*/ 42770 w 51323"/>
                  <a:gd name="connsiteY1024" fmla="*/ 25610 h 51323"/>
                  <a:gd name="connsiteX1025" fmla="*/ 42770 w 51323"/>
                  <a:gd name="connsiteY1025" fmla="*/ 25610 h 51323"/>
                  <a:gd name="connsiteX1026" fmla="*/ 43045 w 51323"/>
                  <a:gd name="connsiteY1026" fmla="*/ 25782 h 51323"/>
                  <a:gd name="connsiteX1027" fmla="*/ 43165 w 51323"/>
                  <a:gd name="connsiteY1027" fmla="*/ 25627 h 51323"/>
                  <a:gd name="connsiteX1028" fmla="*/ 43165 w 51323"/>
                  <a:gd name="connsiteY1028" fmla="*/ 26108 h 51323"/>
                  <a:gd name="connsiteX1029" fmla="*/ 43165 w 51323"/>
                  <a:gd name="connsiteY1029" fmla="*/ 26211 h 51323"/>
                  <a:gd name="connsiteX1030" fmla="*/ 43165 w 51323"/>
                  <a:gd name="connsiteY1030" fmla="*/ 26366 h 51323"/>
                  <a:gd name="connsiteX1031" fmla="*/ 43766 w 51323"/>
                  <a:gd name="connsiteY1031" fmla="*/ 26091 h 51323"/>
                  <a:gd name="connsiteX1032" fmla="*/ 43766 w 51323"/>
                  <a:gd name="connsiteY1032" fmla="*/ 26091 h 51323"/>
                  <a:gd name="connsiteX1033" fmla="*/ 44058 w 51323"/>
                  <a:gd name="connsiteY1033" fmla="*/ 25318 h 51323"/>
                  <a:gd name="connsiteX1034" fmla="*/ 44058 w 51323"/>
                  <a:gd name="connsiteY1034" fmla="*/ 25318 h 51323"/>
                  <a:gd name="connsiteX1035" fmla="*/ 44058 w 51323"/>
                  <a:gd name="connsiteY1035" fmla="*/ 25215 h 51323"/>
                  <a:gd name="connsiteX1036" fmla="*/ 44058 w 51323"/>
                  <a:gd name="connsiteY1036" fmla="*/ 25507 h 51323"/>
                  <a:gd name="connsiteX1037" fmla="*/ 44642 w 51323"/>
                  <a:gd name="connsiteY1037" fmla="*/ 26091 h 51323"/>
                  <a:gd name="connsiteX1038" fmla="*/ 44642 w 51323"/>
                  <a:gd name="connsiteY1038" fmla="*/ 27311 h 51323"/>
                  <a:gd name="connsiteX1039" fmla="*/ 44642 w 51323"/>
                  <a:gd name="connsiteY1039" fmla="*/ 27877 h 51323"/>
                  <a:gd name="connsiteX1040" fmla="*/ 44109 w 51323"/>
                  <a:gd name="connsiteY1040" fmla="*/ 28376 h 51323"/>
                  <a:gd name="connsiteX1041" fmla="*/ 44109 w 51323"/>
                  <a:gd name="connsiteY1041" fmla="*/ 28719 h 51323"/>
                  <a:gd name="connsiteX1042" fmla="*/ 43457 w 51323"/>
                  <a:gd name="connsiteY1042" fmla="*/ 29114 h 51323"/>
                  <a:gd name="connsiteX1043" fmla="*/ 42684 w 51323"/>
                  <a:gd name="connsiteY1043" fmla="*/ 29767 h 51323"/>
                  <a:gd name="connsiteX1044" fmla="*/ 42357 w 51323"/>
                  <a:gd name="connsiteY1044" fmla="*/ 29990 h 51323"/>
                  <a:gd name="connsiteX1045" fmla="*/ 41791 w 51323"/>
                  <a:gd name="connsiteY1045" fmla="*/ 30248 h 51323"/>
                  <a:gd name="connsiteX1046" fmla="*/ 41172 w 51323"/>
                  <a:gd name="connsiteY1046" fmla="*/ 30626 h 51323"/>
                  <a:gd name="connsiteX1047" fmla="*/ 40897 w 51323"/>
                  <a:gd name="connsiteY1047" fmla="*/ 29629 h 51323"/>
                  <a:gd name="connsiteX1048" fmla="*/ 39850 w 51323"/>
                  <a:gd name="connsiteY1048" fmla="*/ 27706 h 51323"/>
                  <a:gd name="connsiteX1049" fmla="*/ 39283 w 51323"/>
                  <a:gd name="connsiteY1049" fmla="*/ 26606 h 51323"/>
                  <a:gd name="connsiteX1050" fmla="*/ 38338 w 51323"/>
                  <a:gd name="connsiteY1050" fmla="*/ 24751 h 51323"/>
                  <a:gd name="connsiteX1051" fmla="*/ 38201 w 51323"/>
                  <a:gd name="connsiteY1051" fmla="*/ 25438 h 51323"/>
                  <a:gd name="connsiteX1052" fmla="*/ 37548 w 51323"/>
                  <a:gd name="connsiteY1052" fmla="*/ 24717 h 51323"/>
                  <a:gd name="connsiteX1053" fmla="*/ 38682 w 51323"/>
                  <a:gd name="connsiteY1053" fmla="*/ 26692 h 51323"/>
                  <a:gd name="connsiteX1054" fmla="*/ 38682 w 51323"/>
                  <a:gd name="connsiteY1054" fmla="*/ 26692 h 51323"/>
                  <a:gd name="connsiteX1055" fmla="*/ 38819 w 51323"/>
                  <a:gd name="connsiteY1055" fmla="*/ 26830 h 51323"/>
                  <a:gd name="connsiteX1056" fmla="*/ 38699 w 51323"/>
                  <a:gd name="connsiteY1056" fmla="*/ 26830 h 51323"/>
                  <a:gd name="connsiteX1057" fmla="*/ 39317 w 51323"/>
                  <a:gd name="connsiteY1057" fmla="*/ 27826 h 51323"/>
                  <a:gd name="connsiteX1058" fmla="*/ 39317 w 51323"/>
                  <a:gd name="connsiteY1058" fmla="*/ 28376 h 51323"/>
                  <a:gd name="connsiteX1059" fmla="*/ 39712 w 51323"/>
                  <a:gd name="connsiteY1059" fmla="*/ 28891 h 51323"/>
                  <a:gd name="connsiteX1060" fmla="*/ 40021 w 51323"/>
                  <a:gd name="connsiteY1060" fmla="*/ 29715 h 51323"/>
                  <a:gd name="connsiteX1061" fmla="*/ 40021 w 51323"/>
                  <a:gd name="connsiteY1061" fmla="*/ 29801 h 51323"/>
                  <a:gd name="connsiteX1062" fmla="*/ 40193 w 51323"/>
                  <a:gd name="connsiteY1062" fmla="*/ 29939 h 51323"/>
                  <a:gd name="connsiteX1063" fmla="*/ 40932 w 51323"/>
                  <a:gd name="connsiteY1063" fmla="*/ 30626 h 51323"/>
                  <a:gd name="connsiteX1064" fmla="*/ 41035 w 51323"/>
                  <a:gd name="connsiteY1064" fmla="*/ 30746 h 51323"/>
                  <a:gd name="connsiteX1065" fmla="*/ 40794 w 51323"/>
                  <a:gd name="connsiteY1065" fmla="*/ 31038 h 51323"/>
                  <a:gd name="connsiteX1066" fmla="*/ 41327 w 51323"/>
                  <a:gd name="connsiteY1066" fmla="*/ 31450 h 51323"/>
                  <a:gd name="connsiteX1067" fmla="*/ 42770 w 51323"/>
                  <a:gd name="connsiteY1067" fmla="*/ 30901 h 51323"/>
                  <a:gd name="connsiteX1068" fmla="*/ 42993 w 51323"/>
                  <a:gd name="connsiteY1068" fmla="*/ 30660 h 51323"/>
                  <a:gd name="connsiteX1069" fmla="*/ 42993 w 51323"/>
                  <a:gd name="connsiteY1069" fmla="*/ 31210 h 51323"/>
                  <a:gd name="connsiteX1070" fmla="*/ 42993 w 51323"/>
                  <a:gd name="connsiteY1070" fmla="*/ 31210 h 51323"/>
                  <a:gd name="connsiteX1071" fmla="*/ 38922 w 51323"/>
                  <a:gd name="connsiteY1071" fmla="*/ 37033 h 51323"/>
                  <a:gd name="connsiteX1072" fmla="*/ 38802 w 51323"/>
                  <a:gd name="connsiteY1072" fmla="*/ 37307 h 51323"/>
                  <a:gd name="connsiteX1073" fmla="*/ 38802 w 51323"/>
                  <a:gd name="connsiteY1073" fmla="*/ 38012 h 51323"/>
                  <a:gd name="connsiteX1074" fmla="*/ 38355 w 51323"/>
                  <a:gd name="connsiteY1074" fmla="*/ 39248 h 51323"/>
                  <a:gd name="connsiteX1075" fmla="*/ 38355 w 51323"/>
                  <a:gd name="connsiteY1075" fmla="*/ 39351 h 51323"/>
                  <a:gd name="connsiteX1076" fmla="*/ 37119 w 51323"/>
                  <a:gd name="connsiteY1076" fmla="*/ 40193 h 51323"/>
                  <a:gd name="connsiteX1077" fmla="*/ 37119 w 51323"/>
                  <a:gd name="connsiteY1077" fmla="*/ 40193 h 51323"/>
                  <a:gd name="connsiteX1078" fmla="*/ 36311 w 51323"/>
                  <a:gd name="connsiteY1078" fmla="*/ 40691 h 51323"/>
                  <a:gd name="connsiteX1079" fmla="*/ 36311 w 51323"/>
                  <a:gd name="connsiteY1079" fmla="*/ 40880 h 51323"/>
                  <a:gd name="connsiteX1080" fmla="*/ 36311 w 51323"/>
                  <a:gd name="connsiteY1080" fmla="*/ 41035 h 51323"/>
                  <a:gd name="connsiteX1081" fmla="*/ 36311 w 51323"/>
                  <a:gd name="connsiteY1081" fmla="*/ 41395 h 51323"/>
                  <a:gd name="connsiteX1082" fmla="*/ 36311 w 51323"/>
                  <a:gd name="connsiteY1082" fmla="*/ 41292 h 51323"/>
                  <a:gd name="connsiteX1083" fmla="*/ 36311 w 51323"/>
                  <a:gd name="connsiteY1083" fmla="*/ 41292 h 51323"/>
                  <a:gd name="connsiteX1084" fmla="*/ 36311 w 51323"/>
                  <a:gd name="connsiteY1084" fmla="*/ 41292 h 51323"/>
                  <a:gd name="connsiteX1085" fmla="*/ 36054 w 51323"/>
                  <a:gd name="connsiteY1085" fmla="*/ 41705 h 51323"/>
                  <a:gd name="connsiteX1086" fmla="*/ 36054 w 51323"/>
                  <a:gd name="connsiteY1086" fmla="*/ 41705 h 51323"/>
                  <a:gd name="connsiteX1087" fmla="*/ 35006 w 51323"/>
                  <a:gd name="connsiteY1087" fmla="*/ 42392 h 51323"/>
                  <a:gd name="connsiteX1088" fmla="*/ 35126 w 51323"/>
                  <a:gd name="connsiteY1088" fmla="*/ 42392 h 51323"/>
                  <a:gd name="connsiteX1089" fmla="*/ 34954 w 51323"/>
                  <a:gd name="connsiteY1089" fmla="*/ 42598 h 51323"/>
                  <a:gd name="connsiteX1090" fmla="*/ 34954 w 51323"/>
                  <a:gd name="connsiteY1090" fmla="*/ 42598 h 51323"/>
                  <a:gd name="connsiteX1091" fmla="*/ 32051 w 51323"/>
                  <a:gd name="connsiteY1091" fmla="*/ 44315 h 51323"/>
                  <a:gd name="connsiteX1092" fmla="*/ 30660 w 51323"/>
                  <a:gd name="connsiteY1092" fmla="*/ 44418 h 51323"/>
                  <a:gd name="connsiteX1093" fmla="*/ 30660 w 51323"/>
                  <a:gd name="connsiteY1093" fmla="*/ 44418 h 51323"/>
                  <a:gd name="connsiteX1094" fmla="*/ 30660 w 51323"/>
                  <a:gd name="connsiteY1094" fmla="*/ 44418 h 51323"/>
                  <a:gd name="connsiteX1095" fmla="*/ 30660 w 51323"/>
                  <a:gd name="connsiteY1095" fmla="*/ 44092 h 51323"/>
                  <a:gd name="connsiteX1096" fmla="*/ 30660 w 51323"/>
                  <a:gd name="connsiteY1096" fmla="*/ 43199 h 51323"/>
                  <a:gd name="connsiteX1097" fmla="*/ 29836 w 51323"/>
                  <a:gd name="connsiteY1097" fmla="*/ 40296 h 51323"/>
                  <a:gd name="connsiteX1098" fmla="*/ 30591 w 51323"/>
                  <a:gd name="connsiteY1098" fmla="*/ 38046 h 51323"/>
                  <a:gd name="connsiteX1099" fmla="*/ 30471 w 51323"/>
                  <a:gd name="connsiteY1099" fmla="*/ 37204 h 51323"/>
                  <a:gd name="connsiteX1100" fmla="*/ 30574 w 51323"/>
                  <a:gd name="connsiteY1100" fmla="*/ 37204 h 51323"/>
                  <a:gd name="connsiteX1101" fmla="*/ 30454 w 51323"/>
                  <a:gd name="connsiteY1101" fmla="*/ 37050 h 51323"/>
                  <a:gd name="connsiteX1102" fmla="*/ 29423 w 51323"/>
                  <a:gd name="connsiteY1102" fmla="*/ 35607 h 51323"/>
                  <a:gd name="connsiteX1103" fmla="*/ 29630 w 51323"/>
                  <a:gd name="connsiteY1103" fmla="*/ 35298 h 51323"/>
                  <a:gd name="connsiteX1104" fmla="*/ 29819 w 51323"/>
                  <a:gd name="connsiteY1104" fmla="*/ 35298 h 51323"/>
                  <a:gd name="connsiteX1105" fmla="*/ 29647 w 51323"/>
                  <a:gd name="connsiteY1105" fmla="*/ 35177 h 51323"/>
                  <a:gd name="connsiteX1106" fmla="*/ 29647 w 51323"/>
                  <a:gd name="connsiteY1106" fmla="*/ 35040 h 51323"/>
                  <a:gd name="connsiteX1107" fmla="*/ 29836 w 51323"/>
                  <a:gd name="connsiteY1107" fmla="*/ 34095 h 51323"/>
                  <a:gd name="connsiteX1108" fmla="*/ 29612 w 51323"/>
                  <a:gd name="connsiteY1108" fmla="*/ 33906 h 51323"/>
                  <a:gd name="connsiteX1109" fmla="*/ 29423 w 51323"/>
                  <a:gd name="connsiteY1109" fmla="*/ 33906 h 51323"/>
                  <a:gd name="connsiteX1110" fmla="*/ 28496 w 51323"/>
                  <a:gd name="connsiteY1110" fmla="*/ 34044 h 51323"/>
                  <a:gd name="connsiteX1111" fmla="*/ 25937 w 51323"/>
                  <a:gd name="connsiteY1111" fmla="*/ 33821 h 51323"/>
                  <a:gd name="connsiteX1112" fmla="*/ 22501 w 51323"/>
                  <a:gd name="connsiteY1112" fmla="*/ 32687 h 51323"/>
                  <a:gd name="connsiteX1113" fmla="*/ 22226 w 51323"/>
                  <a:gd name="connsiteY1113" fmla="*/ 32361 h 51323"/>
                  <a:gd name="connsiteX1114" fmla="*/ 22226 w 51323"/>
                  <a:gd name="connsiteY1114" fmla="*/ 32137 h 51323"/>
                  <a:gd name="connsiteX1115" fmla="*/ 21986 w 51323"/>
                  <a:gd name="connsiteY1115" fmla="*/ 31828 h 51323"/>
                  <a:gd name="connsiteX1116" fmla="*/ 21591 w 51323"/>
                  <a:gd name="connsiteY1116" fmla="*/ 31536 h 51323"/>
                  <a:gd name="connsiteX1117" fmla="*/ 21436 w 51323"/>
                  <a:gd name="connsiteY1117" fmla="*/ 31450 h 51323"/>
                  <a:gd name="connsiteX1118" fmla="*/ 21436 w 51323"/>
                  <a:gd name="connsiteY1118" fmla="*/ 31450 h 51323"/>
                  <a:gd name="connsiteX1119" fmla="*/ 21436 w 51323"/>
                  <a:gd name="connsiteY1119" fmla="*/ 31450 h 51323"/>
                  <a:gd name="connsiteX1120" fmla="*/ 21436 w 51323"/>
                  <a:gd name="connsiteY1120" fmla="*/ 31347 h 51323"/>
                  <a:gd name="connsiteX1121" fmla="*/ 21642 w 51323"/>
                  <a:gd name="connsiteY1121" fmla="*/ 31347 h 51323"/>
                  <a:gd name="connsiteX1122" fmla="*/ 21247 w 51323"/>
                  <a:gd name="connsiteY1122" fmla="*/ 31158 h 51323"/>
                  <a:gd name="connsiteX1123" fmla="*/ 21041 w 51323"/>
                  <a:gd name="connsiteY1123" fmla="*/ 30986 h 51323"/>
                  <a:gd name="connsiteX1124" fmla="*/ 21213 w 51323"/>
                  <a:gd name="connsiteY1124" fmla="*/ 30986 h 51323"/>
                  <a:gd name="connsiteX1125" fmla="*/ 21024 w 51323"/>
                  <a:gd name="connsiteY1125" fmla="*/ 30986 h 51323"/>
                  <a:gd name="connsiteX1126" fmla="*/ 21024 w 51323"/>
                  <a:gd name="connsiteY1126" fmla="*/ 30780 h 51323"/>
                  <a:gd name="connsiteX1127" fmla="*/ 21299 w 51323"/>
                  <a:gd name="connsiteY1127" fmla="*/ 30780 h 51323"/>
                  <a:gd name="connsiteX1128" fmla="*/ 21144 w 51323"/>
                  <a:gd name="connsiteY1128" fmla="*/ 30626 h 51323"/>
                  <a:gd name="connsiteX1129" fmla="*/ 21144 w 51323"/>
                  <a:gd name="connsiteY1129" fmla="*/ 30626 h 51323"/>
                  <a:gd name="connsiteX1130" fmla="*/ 20921 w 51323"/>
                  <a:gd name="connsiteY1130" fmla="*/ 30299 h 51323"/>
                  <a:gd name="connsiteX1131" fmla="*/ 21333 w 51323"/>
                  <a:gd name="connsiteY1131" fmla="*/ 28582 h 51323"/>
                  <a:gd name="connsiteX1132" fmla="*/ 21436 w 51323"/>
                  <a:gd name="connsiteY1132" fmla="*/ 28358 h 51323"/>
                  <a:gd name="connsiteX1133" fmla="*/ 21247 w 51323"/>
                  <a:gd name="connsiteY1133" fmla="*/ 28135 h 51323"/>
                  <a:gd name="connsiteX1134" fmla="*/ 21247 w 51323"/>
                  <a:gd name="connsiteY1134" fmla="*/ 28221 h 51323"/>
                  <a:gd name="connsiteX1135" fmla="*/ 21591 w 51323"/>
                  <a:gd name="connsiteY1135" fmla="*/ 27465 h 51323"/>
                  <a:gd name="connsiteX1136" fmla="*/ 23927 w 51323"/>
                  <a:gd name="connsiteY1136" fmla="*/ 25043 h 51323"/>
                  <a:gd name="connsiteX1137" fmla="*/ 23927 w 51323"/>
                  <a:gd name="connsiteY1137" fmla="*/ 24562 h 51323"/>
                  <a:gd name="connsiteX1138" fmla="*/ 24133 w 51323"/>
                  <a:gd name="connsiteY1138" fmla="*/ 24081 h 51323"/>
                  <a:gd name="connsiteX1139" fmla="*/ 25473 w 51323"/>
                  <a:gd name="connsiteY1139" fmla="*/ 22896 h 51323"/>
                  <a:gd name="connsiteX1140" fmla="*/ 26194 w 51323"/>
                  <a:gd name="connsiteY1140" fmla="*/ 23102 h 51323"/>
                  <a:gd name="connsiteX1141" fmla="*/ 27586 w 51323"/>
                  <a:gd name="connsiteY1141" fmla="*/ 22725 h 51323"/>
                  <a:gd name="connsiteX1142" fmla="*/ 29063 w 51323"/>
                  <a:gd name="connsiteY1142" fmla="*/ 22587 h 51323"/>
                  <a:gd name="connsiteX1143" fmla="*/ 29372 w 51323"/>
                  <a:gd name="connsiteY1143" fmla="*/ 22587 h 51323"/>
                  <a:gd name="connsiteX1144" fmla="*/ 30162 w 51323"/>
                  <a:gd name="connsiteY1144" fmla="*/ 22587 h 51323"/>
                  <a:gd name="connsiteX1145" fmla="*/ 30385 w 51323"/>
                  <a:gd name="connsiteY1145" fmla="*/ 22776 h 51323"/>
                  <a:gd name="connsiteX1146" fmla="*/ 30385 w 51323"/>
                  <a:gd name="connsiteY1146" fmla="*/ 23017 h 51323"/>
                  <a:gd name="connsiteX1147" fmla="*/ 30385 w 51323"/>
                  <a:gd name="connsiteY1147" fmla="*/ 23910 h 51323"/>
                  <a:gd name="connsiteX1148" fmla="*/ 30506 w 51323"/>
                  <a:gd name="connsiteY1148" fmla="*/ 23910 h 51323"/>
                  <a:gd name="connsiteX1149" fmla="*/ 30506 w 51323"/>
                  <a:gd name="connsiteY1149" fmla="*/ 23910 h 51323"/>
                  <a:gd name="connsiteX1150" fmla="*/ 31622 w 51323"/>
                  <a:gd name="connsiteY1150" fmla="*/ 24236 h 51323"/>
                  <a:gd name="connsiteX1151" fmla="*/ 34473 w 51323"/>
                  <a:gd name="connsiteY1151" fmla="*/ 24236 h 51323"/>
                  <a:gd name="connsiteX1152" fmla="*/ 36191 w 51323"/>
                  <a:gd name="connsiteY1152" fmla="*/ 24700 h 51323"/>
                  <a:gd name="connsiteX1153" fmla="*/ 37084 w 51323"/>
                  <a:gd name="connsiteY1153" fmla="*/ 24494 h 51323"/>
                  <a:gd name="connsiteX1154" fmla="*/ 37187 w 51323"/>
                  <a:gd name="connsiteY1154" fmla="*/ 24494 h 51323"/>
                  <a:gd name="connsiteX1155" fmla="*/ 37187 w 51323"/>
                  <a:gd name="connsiteY1155" fmla="*/ 24494 h 51323"/>
                  <a:gd name="connsiteX1156" fmla="*/ 37462 w 51323"/>
                  <a:gd name="connsiteY1156" fmla="*/ 24494 h 51323"/>
                  <a:gd name="connsiteX1157" fmla="*/ 37565 w 51323"/>
                  <a:gd name="connsiteY1157" fmla="*/ 24665 h 51323"/>
                  <a:gd name="connsiteX1158" fmla="*/ 37565 w 51323"/>
                  <a:gd name="connsiteY1158" fmla="*/ 24494 h 51323"/>
                  <a:gd name="connsiteX1159" fmla="*/ 38407 w 51323"/>
                  <a:gd name="connsiteY1159" fmla="*/ 22381 h 51323"/>
                  <a:gd name="connsiteX1160" fmla="*/ 37840 w 51323"/>
                  <a:gd name="connsiteY1160" fmla="*/ 22656 h 51323"/>
                  <a:gd name="connsiteX1161" fmla="*/ 36775 w 51323"/>
                  <a:gd name="connsiteY1161" fmla="*/ 22656 h 51323"/>
                  <a:gd name="connsiteX1162" fmla="*/ 36277 w 51323"/>
                  <a:gd name="connsiteY1162" fmla="*/ 22536 h 51323"/>
                  <a:gd name="connsiteX1163" fmla="*/ 36140 w 51323"/>
                  <a:gd name="connsiteY1163" fmla="*/ 22536 h 51323"/>
                  <a:gd name="connsiteX1164" fmla="*/ 35933 w 51323"/>
                  <a:gd name="connsiteY1164" fmla="*/ 22536 h 51323"/>
                  <a:gd name="connsiteX1165" fmla="*/ 35727 w 51323"/>
                  <a:gd name="connsiteY1165" fmla="*/ 22536 h 51323"/>
                  <a:gd name="connsiteX1166" fmla="*/ 35951 w 51323"/>
                  <a:gd name="connsiteY1166" fmla="*/ 22398 h 51323"/>
                  <a:gd name="connsiteX1167" fmla="*/ 35762 w 51323"/>
                  <a:gd name="connsiteY1167" fmla="*/ 22398 h 51323"/>
                  <a:gd name="connsiteX1168" fmla="*/ 35401 w 51323"/>
                  <a:gd name="connsiteY1168" fmla="*/ 22020 h 51323"/>
                  <a:gd name="connsiteX1169" fmla="*/ 35401 w 51323"/>
                  <a:gd name="connsiteY1169" fmla="*/ 21831 h 51323"/>
                  <a:gd name="connsiteX1170" fmla="*/ 35573 w 51323"/>
                  <a:gd name="connsiteY1170" fmla="*/ 21831 h 51323"/>
                  <a:gd name="connsiteX1171" fmla="*/ 35573 w 51323"/>
                  <a:gd name="connsiteY1171" fmla="*/ 21831 h 51323"/>
                  <a:gd name="connsiteX1172" fmla="*/ 35676 w 51323"/>
                  <a:gd name="connsiteY1172" fmla="*/ 21694 h 51323"/>
                  <a:gd name="connsiteX1173" fmla="*/ 35676 w 51323"/>
                  <a:gd name="connsiteY1173" fmla="*/ 21488 h 51323"/>
                  <a:gd name="connsiteX1174" fmla="*/ 35779 w 51323"/>
                  <a:gd name="connsiteY1174" fmla="*/ 21179 h 51323"/>
                  <a:gd name="connsiteX1175" fmla="*/ 36225 w 51323"/>
                  <a:gd name="connsiteY1175" fmla="*/ 21179 h 51323"/>
                  <a:gd name="connsiteX1176" fmla="*/ 36397 w 51323"/>
                  <a:gd name="connsiteY1176" fmla="*/ 20990 h 51323"/>
                  <a:gd name="connsiteX1177" fmla="*/ 36827 w 51323"/>
                  <a:gd name="connsiteY1177" fmla="*/ 20784 h 51323"/>
                  <a:gd name="connsiteX1178" fmla="*/ 37788 w 51323"/>
                  <a:gd name="connsiteY1178" fmla="*/ 20371 h 51323"/>
                  <a:gd name="connsiteX1179" fmla="*/ 38063 w 51323"/>
                  <a:gd name="connsiteY1179" fmla="*/ 20371 h 51323"/>
                  <a:gd name="connsiteX1180" fmla="*/ 38287 w 51323"/>
                  <a:gd name="connsiteY1180" fmla="*/ 20526 h 51323"/>
                  <a:gd name="connsiteX1181" fmla="*/ 37857 w 51323"/>
                  <a:gd name="connsiteY1181" fmla="*/ 19049 h 51323"/>
                  <a:gd name="connsiteX1182" fmla="*/ 37857 w 51323"/>
                  <a:gd name="connsiteY1182" fmla="*/ 18911 h 51323"/>
                  <a:gd name="connsiteX1183" fmla="*/ 37977 w 51323"/>
                  <a:gd name="connsiteY1183" fmla="*/ 18791 h 51323"/>
                  <a:gd name="connsiteX1184" fmla="*/ 37977 w 51323"/>
                  <a:gd name="connsiteY1184" fmla="*/ 18551 h 51323"/>
                  <a:gd name="connsiteX1185" fmla="*/ 37857 w 51323"/>
                  <a:gd name="connsiteY1185" fmla="*/ 18448 h 51323"/>
                  <a:gd name="connsiteX1186" fmla="*/ 38029 w 51323"/>
                  <a:gd name="connsiteY1186" fmla="*/ 18448 h 51323"/>
                  <a:gd name="connsiteX1187" fmla="*/ 38132 w 51323"/>
                  <a:gd name="connsiteY1187" fmla="*/ 18224 h 51323"/>
                  <a:gd name="connsiteX1188" fmla="*/ 37548 w 51323"/>
                  <a:gd name="connsiteY1188" fmla="*/ 18499 h 51323"/>
                  <a:gd name="connsiteX1189" fmla="*/ 37359 w 51323"/>
                  <a:gd name="connsiteY1189" fmla="*/ 18499 h 51323"/>
                  <a:gd name="connsiteX1190" fmla="*/ 37204 w 51323"/>
                  <a:gd name="connsiteY1190" fmla="*/ 18499 h 51323"/>
                  <a:gd name="connsiteX1191" fmla="*/ 37204 w 51323"/>
                  <a:gd name="connsiteY1191" fmla="*/ 18705 h 51323"/>
                  <a:gd name="connsiteX1192" fmla="*/ 37204 w 51323"/>
                  <a:gd name="connsiteY1192" fmla="*/ 18568 h 51323"/>
                  <a:gd name="connsiteX1193" fmla="*/ 36878 w 51323"/>
                  <a:gd name="connsiteY1193" fmla="*/ 18791 h 51323"/>
                  <a:gd name="connsiteX1194" fmla="*/ 37136 w 51323"/>
                  <a:gd name="connsiteY1194" fmla="*/ 18946 h 51323"/>
                  <a:gd name="connsiteX1195" fmla="*/ 37136 w 51323"/>
                  <a:gd name="connsiteY1195" fmla="*/ 18946 h 51323"/>
                  <a:gd name="connsiteX1196" fmla="*/ 37325 w 51323"/>
                  <a:gd name="connsiteY1196" fmla="*/ 19049 h 51323"/>
                  <a:gd name="connsiteX1197" fmla="*/ 37084 w 51323"/>
                  <a:gd name="connsiteY1197" fmla="*/ 18705 h 51323"/>
                  <a:gd name="connsiteX1198" fmla="*/ 37393 w 51323"/>
                  <a:gd name="connsiteY1198" fmla="*/ 19014 h 51323"/>
                  <a:gd name="connsiteX1199" fmla="*/ 37514 w 51323"/>
                  <a:gd name="connsiteY1199" fmla="*/ 19014 h 51323"/>
                  <a:gd name="connsiteX1200" fmla="*/ 37685 w 51323"/>
                  <a:gd name="connsiteY1200" fmla="*/ 18929 h 51323"/>
                  <a:gd name="connsiteX1201" fmla="*/ 37462 w 51323"/>
                  <a:gd name="connsiteY1201" fmla="*/ 19100 h 51323"/>
                  <a:gd name="connsiteX1202" fmla="*/ 36912 w 51323"/>
                  <a:gd name="connsiteY1202" fmla="*/ 19100 h 51323"/>
                  <a:gd name="connsiteX1203" fmla="*/ 36758 w 51323"/>
                  <a:gd name="connsiteY1203" fmla="*/ 18860 h 51323"/>
                  <a:gd name="connsiteX1204" fmla="*/ 36500 w 51323"/>
                  <a:gd name="connsiteY1204" fmla="*/ 18740 h 51323"/>
                  <a:gd name="connsiteX1205" fmla="*/ 36380 w 51323"/>
                  <a:gd name="connsiteY1205" fmla="*/ 18619 h 51323"/>
                  <a:gd name="connsiteX1206" fmla="*/ 36157 w 51323"/>
                  <a:gd name="connsiteY1206" fmla="*/ 18619 h 51323"/>
                  <a:gd name="connsiteX1207" fmla="*/ 36449 w 51323"/>
                  <a:gd name="connsiteY1207" fmla="*/ 18619 h 51323"/>
                  <a:gd name="connsiteX1208" fmla="*/ 36260 w 51323"/>
                  <a:gd name="connsiteY1208" fmla="*/ 18619 h 51323"/>
                  <a:gd name="connsiteX1209" fmla="*/ 36088 w 51323"/>
                  <a:gd name="connsiteY1209" fmla="*/ 18740 h 51323"/>
                  <a:gd name="connsiteX1210" fmla="*/ 35916 w 51323"/>
                  <a:gd name="connsiteY1210" fmla="*/ 18946 h 51323"/>
                  <a:gd name="connsiteX1211" fmla="*/ 35796 w 51323"/>
                  <a:gd name="connsiteY1211" fmla="*/ 19083 h 51323"/>
                  <a:gd name="connsiteX1212" fmla="*/ 35607 w 51323"/>
                  <a:gd name="connsiteY1212" fmla="*/ 19598 h 51323"/>
                  <a:gd name="connsiteX1213" fmla="*/ 35607 w 51323"/>
                  <a:gd name="connsiteY1213" fmla="*/ 19993 h 51323"/>
                  <a:gd name="connsiteX1214" fmla="*/ 35470 w 51323"/>
                  <a:gd name="connsiteY1214" fmla="*/ 20251 h 51323"/>
                  <a:gd name="connsiteX1215" fmla="*/ 35607 w 51323"/>
                  <a:gd name="connsiteY1215" fmla="*/ 20698 h 51323"/>
                  <a:gd name="connsiteX1216" fmla="*/ 35899 w 51323"/>
                  <a:gd name="connsiteY1216" fmla="*/ 20990 h 51323"/>
                  <a:gd name="connsiteX1217" fmla="*/ 35212 w 51323"/>
                  <a:gd name="connsiteY1217" fmla="*/ 21333 h 51323"/>
                  <a:gd name="connsiteX1218" fmla="*/ 35315 w 51323"/>
                  <a:gd name="connsiteY1218" fmla="*/ 21144 h 51323"/>
                  <a:gd name="connsiteX1219" fmla="*/ 34731 w 51323"/>
                  <a:gd name="connsiteY1219" fmla="*/ 21144 h 51323"/>
                  <a:gd name="connsiteX1220" fmla="*/ 34491 w 51323"/>
                  <a:gd name="connsiteY1220" fmla="*/ 21230 h 51323"/>
                  <a:gd name="connsiteX1221" fmla="*/ 34611 w 51323"/>
                  <a:gd name="connsiteY1221" fmla="*/ 21385 h 51323"/>
                  <a:gd name="connsiteX1222" fmla="*/ 34439 w 51323"/>
                  <a:gd name="connsiteY1222" fmla="*/ 21385 h 51323"/>
                  <a:gd name="connsiteX1223" fmla="*/ 34439 w 51323"/>
                  <a:gd name="connsiteY1223" fmla="*/ 21471 h 51323"/>
                  <a:gd name="connsiteX1224" fmla="*/ 34439 w 51323"/>
                  <a:gd name="connsiteY1224" fmla="*/ 21471 h 51323"/>
                  <a:gd name="connsiteX1225" fmla="*/ 34164 w 51323"/>
                  <a:gd name="connsiteY1225" fmla="*/ 21282 h 51323"/>
                  <a:gd name="connsiteX1226" fmla="*/ 34164 w 51323"/>
                  <a:gd name="connsiteY1226" fmla="*/ 21522 h 51323"/>
                  <a:gd name="connsiteX1227" fmla="*/ 34164 w 51323"/>
                  <a:gd name="connsiteY1227" fmla="*/ 21728 h 51323"/>
                  <a:gd name="connsiteX1228" fmla="*/ 34164 w 51323"/>
                  <a:gd name="connsiteY1228" fmla="*/ 21728 h 51323"/>
                  <a:gd name="connsiteX1229" fmla="*/ 34164 w 51323"/>
                  <a:gd name="connsiteY1229" fmla="*/ 21831 h 51323"/>
                  <a:gd name="connsiteX1230" fmla="*/ 34662 w 51323"/>
                  <a:gd name="connsiteY1230" fmla="*/ 22295 h 51323"/>
                  <a:gd name="connsiteX1231" fmla="*/ 34336 w 51323"/>
                  <a:gd name="connsiteY1231" fmla="*/ 22295 h 51323"/>
                  <a:gd name="connsiteX1232" fmla="*/ 34456 w 51323"/>
                  <a:gd name="connsiteY1232" fmla="*/ 22467 h 51323"/>
                  <a:gd name="connsiteX1233" fmla="*/ 34456 w 51323"/>
                  <a:gd name="connsiteY1233" fmla="*/ 22467 h 51323"/>
                  <a:gd name="connsiteX1234" fmla="*/ 34456 w 51323"/>
                  <a:gd name="connsiteY1234" fmla="*/ 22776 h 51323"/>
                  <a:gd name="connsiteX1235" fmla="*/ 34250 w 51323"/>
                  <a:gd name="connsiteY1235" fmla="*/ 22776 h 51323"/>
                  <a:gd name="connsiteX1236" fmla="*/ 34078 w 51323"/>
                  <a:gd name="connsiteY1236" fmla="*/ 22518 h 51323"/>
                  <a:gd name="connsiteX1237" fmla="*/ 34078 w 51323"/>
                  <a:gd name="connsiteY1237" fmla="*/ 22656 h 51323"/>
                  <a:gd name="connsiteX1238" fmla="*/ 33975 w 51323"/>
                  <a:gd name="connsiteY1238" fmla="*/ 22398 h 51323"/>
                  <a:gd name="connsiteX1239" fmla="*/ 33855 w 51323"/>
                  <a:gd name="connsiteY1239" fmla="*/ 22089 h 51323"/>
                  <a:gd name="connsiteX1240" fmla="*/ 34353 w 51323"/>
                  <a:gd name="connsiteY1240" fmla="*/ 22089 h 51323"/>
                  <a:gd name="connsiteX1241" fmla="*/ 33958 w 51323"/>
                  <a:gd name="connsiteY1241" fmla="*/ 22089 h 51323"/>
                  <a:gd name="connsiteX1242" fmla="*/ 33786 w 51323"/>
                  <a:gd name="connsiteY1242" fmla="*/ 22089 h 51323"/>
                  <a:gd name="connsiteX1243" fmla="*/ 33065 w 51323"/>
                  <a:gd name="connsiteY1243" fmla="*/ 21316 h 51323"/>
                  <a:gd name="connsiteX1244" fmla="*/ 33065 w 51323"/>
                  <a:gd name="connsiteY1244" fmla="*/ 20732 h 51323"/>
                  <a:gd name="connsiteX1245" fmla="*/ 32584 w 51323"/>
                  <a:gd name="connsiteY1245" fmla="*/ 20320 h 51323"/>
                  <a:gd name="connsiteX1246" fmla="*/ 32275 w 51323"/>
                  <a:gd name="connsiteY1246" fmla="*/ 20320 h 51323"/>
                  <a:gd name="connsiteX1247" fmla="*/ 32395 w 51323"/>
                  <a:gd name="connsiteY1247" fmla="*/ 20320 h 51323"/>
                  <a:gd name="connsiteX1248" fmla="*/ 31931 w 51323"/>
                  <a:gd name="connsiteY1248" fmla="*/ 20131 h 51323"/>
                  <a:gd name="connsiteX1249" fmla="*/ 31742 w 51323"/>
                  <a:gd name="connsiteY1249" fmla="*/ 19856 h 51323"/>
                  <a:gd name="connsiteX1250" fmla="*/ 31175 w 51323"/>
                  <a:gd name="connsiteY1250" fmla="*/ 19633 h 51323"/>
                  <a:gd name="connsiteX1251" fmla="*/ 31175 w 51323"/>
                  <a:gd name="connsiteY1251" fmla="*/ 19306 h 51323"/>
                  <a:gd name="connsiteX1252" fmla="*/ 30746 w 51323"/>
                  <a:gd name="connsiteY1252" fmla="*/ 19427 h 51323"/>
                  <a:gd name="connsiteX1253" fmla="*/ 31656 w 51323"/>
                  <a:gd name="connsiteY1253" fmla="*/ 20681 h 51323"/>
                  <a:gd name="connsiteX1254" fmla="*/ 31983 w 51323"/>
                  <a:gd name="connsiteY1254" fmla="*/ 20887 h 51323"/>
                  <a:gd name="connsiteX1255" fmla="*/ 32807 w 51323"/>
                  <a:gd name="connsiteY1255" fmla="*/ 21539 h 51323"/>
                  <a:gd name="connsiteX1256" fmla="*/ 32532 w 51323"/>
                  <a:gd name="connsiteY1256" fmla="*/ 21333 h 51323"/>
                  <a:gd name="connsiteX1257" fmla="*/ 32309 w 51323"/>
                  <a:gd name="connsiteY1257" fmla="*/ 21625 h 51323"/>
                  <a:gd name="connsiteX1258" fmla="*/ 32309 w 51323"/>
                  <a:gd name="connsiteY1258" fmla="*/ 22141 h 51323"/>
                  <a:gd name="connsiteX1259" fmla="*/ 32086 w 51323"/>
                  <a:gd name="connsiteY1259" fmla="*/ 22141 h 51323"/>
                  <a:gd name="connsiteX1260" fmla="*/ 31794 w 51323"/>
                  <a:gd name="connsiteY1260" fmla="*/ 21402 h 51323"/>
                  <a:gd name="connsiteX1261" fmla="*/ 31656 w 51323"/>
                  <a:gd name="connsiteY1261" fmla="*/ 21230 h 51323"/>
                  <a:gd name="connsiteX1262" fmla="*/ 31330 w 51323"/>
                  <a:gd name="connsiteY1262" fmla="*/ 21024 h 51323"/>
                  <a:gd name="connsiteX1263" fmla="*/ 29080 w 51323"/>
                  <a:gd name="connsiteY1263" fmla="*/ 20217 h 51323"/>
                  <a:gd name="connsiteX1264" fmla="*/ 28633 w 51323"/>
                  <a:gd name="connsiteY1264" fmla="*/ 20114 h 51323"/>
                  <a:gd name="connsiteX1265" fmla="*/ 27448 w 51323"/>
                  <a:gd name="connsiteY1265" fmla="*/ 21093 h 51323"/>
                  <a:gd name="connsiteX1266" fmla="*/ 27448 w 51323"/>
                  <a:gd name="connsiteY1266" fmla="*/ 21213 h 51323"/>
                  <a:gd name="connsiteX1267" fmla="*/ 27191 w 51323"/>
                  <a:gd name="connsiteY1267" fmla="*/ 22003 h 51323"/>
                  <a:gd name="connsiteX1268" fmla="*/ 26847 w 51323"/>
                  <a:gd name="connsiteY1268" fmla="*/ 22398 h 51323"/>
                  <a:gd name="connsiteX1269" fmla="*/ 25421 w 51323"/>
                  <a:gd name="connsiteY1269" fmla="*/ 22896 h 51323"/>
                  <a:gd name="connsiteX1270" fmla="*/ 24700 w 51323"/>
                  <a:gd name="connsiteY1270" fmla="*/ 22501 h 51323"/>
                  <a:gd name="connsiteX1271" fmla="*/ 24408 w 51323"/>
                  <a:gd name="connsiteY1271" fmla="*/ 22501 h 51323"/>
                  <a:gd name="connsiteX1272" fmla="*/ 24511 w 51323"/>
                  <a:gd name="connsiteY1272" fmla="*/ 21934 h 51323"/>
                  <a:gd name="connsiteX1273" fmla="*/ 24511 w 51323"/>
                  <a:gd name="connsiteY1273" fmla="*/ 21763 h 51323"/>
                  <a:gd name="connsiteX1274" fmla="*/ 24631 w 51323"/>
                  <a:gd name="connsiteY1274" fmla="*/ 21144 h 51323"/>
                  <a:gd name="connsiteX1275" fmla="*/ 24734 w 51323"/>
                  <a:gd name="connsiteY1275" fmla="*/ 20457 h 51323"/>
                  <a:gd name="connsiteX1276" fmla="*/ 24734 w 51323"/>
                  <a:gd name="connsiteY1276" fmla="*/ 20457 h 51323"/>
                  <a:gd name="connsiteX1277" fmla="*/ 24734 w 51323"/>
                  <a:gd name="connsiteY1277" fmla="*/ 20337 h 51323"/>
                  <a:gd name="connsiteX1278" fmla="*/ 24734 w 51323"/>
                  <a:gd name="connsiteY1278" fmla="*/ 20234 h 51323"/>
                  <a:gd name="connsiteX1279" fmla="*/ 25026 w 51323"/>
                  <a:gd name="connsiteY1279" fmla="*/ 20045 h 51323"/>
                  <a:gd name="connsiteX1280" fmla="*/ 25490 w 51323"/>
                  <a:gd name="connsiteY1280" fmla="*/ 20045 h 51323"/>
                  <a:gd name="connsiteX1281" fmla="*/ 26607 w 51323"/>
                  <a:gd name="connsiteY1281" fmla="*/ 20131 h 51323"/>
                  <a:gd name="connsiteX1282" fmla="*/ 27276 w 51323"/>
                  <a:gd name="connsiteY1282" fmla="*/ 19564 h 51323"/>
                  <a:gd name="connsiteX1283" fmla="*/ 27053 w 51323"/>
                  <a:gd name="connsiteY1283" fmla="*/ 19289 h 51323"/>
                  <a:gd name="connsiteX1284" fmla="*/ 26813 w 51323"/>
                  <a:gd name="connsiteY1284" fmla="*/ 18860 h 51323"/>
                  <a:gd name="connsiteX1285" fmla="*/ 26950 w 51323"/>
                  <a:gd name="connsiteY1285" fmla="*/ 18722 h 51323"/>
                  <a:gd name="connsiteX1286" fmla="*/ 26727 w 51323"/>
                  <a:gd name="connsiteY1286" fmla="*/ 18551 h 51323"/>
                  <a:gd name="connsiteX1287" fmla="*/ 26229 w 51323"/>
                  <a:gd name="connsiteY1287" fmla="*/ 18465 h 51323"/>
                  <a:gd name="connsiteX1288" fmla="*/ 26229 w 51323"/>
                  <a:gd name="connsiteY1288" fmla="*/ 18345 h 51323"/>
                  <a:gd name="connsiteX1289" fmla="*/ 26229 w 51323"/>
                  <a:gd name="connsiteY1289" fmla="*/ 18345 h 51323"/>
                  <a:gd name="connsiteX1290" fmla="*/ 26229 w 51323"/>
                  <a:gd name="connsiteY1290" fmla="*/ 18345 h 51323"/>
                  <a:gd name="connsiteX1291" fmla="*/ 26555 w 51323"/>
                  <a:gd name="connsiteY1291" fmla="*/ 18121 h 51323"/>
                  <a:gd name="connsiteX1292" fmla="*/ 27019 w 51323"/>
                  <a:gd name="connsiteY1292" fmla="*/ 18241 h 51323"/>
                  <a:gd name="connsiteX1293" fmla="*/ 26899 w 51323"/>
                  <a:gd name="connsiteY1293" fmla="*/ 17812 h 51323"/>
                  <a:gd name="connsiteX1294" fmla="*/ 27105 w 51323"/>
                  <a:gd name="connsiteY1294" fmla="*/ 17812 h 51323"/>
                  <a:gd name="connsiteX1295" fmla="*/ 27500 w 51323"/>
                  <a:gd name="connsiteY1295" fmla="*/ 17812 h 51323"/>
                  <a:gd name="connsiteX1296" fmla="*/ 27775 w 51323"/>
                  <a:gd name="connsiteY1296" fmla="*/ 17606 h 51323"/>
                  <a:gd name="connsiteX1297" fmla="*/ 27895 w 51323"/>
                  <a:gd name="connsiteY1297" fmla="*/ 17280 h 51323"/>
                  <a:gd name="connsiteX1298" fmla="*/ 28444 w 51323"/>
                  <a:gd name="connsiteY1298" fmla="*/ 17125 h 51323"/>
                  <a:gd name="connsiteX1299" fmla="*/ 28444 w 51323"/>
                  <a:gd name="connsiteY1299" fmla="*/ 17125 h 51323"/>
                  <a:gd name="connsiteX1300" fmla="*/ 28547 w 51323"/>
                  <a:gd name="connsiteY1300" fmla="*/ 17022 h 51323"/>
                  <a:gd name="connsiteX1301" fmla="*/ 29286 w 51323"/>
                  <a:gd name="connsiteY1301" fmla="*/ 16438 h 51323"/>
                  <a:gd name="connsiteX1302" fmla="*/ 29458 w 51323"/>
                  <a:gd name="connsiteY1302" fmla="*/ 16438 h 51323"/>
                  <a:gd name="connsiteX1303" fmla="*/ 29595 w 51323"/>
                  <a:gd name="connsiteY1303" fmla="*/ 16438 h 51323"/>
                  <a:gd name="connsiteX1304" fmla="*/ 29956 w 51323"/>
                  <a:gd name="connsiteY1304" fmla="*/ 16301 h 51323"/>
                  <a:gd name="connsiteX1305" fmla="*/ 29389 w 51323"/>
                  <a:gd name="connsiteY1305" fmla="*/ 15115 h 51323"/>
                  <a:gd name="connsiteX1306" fmla="*/ 29664 w 51323"/>
                  <a:gd name="connsiteY1306" fmla="*/ 15115 h 51323"/>
                  <a:gd name="connsiteX1307" fmla="*/ 30025 w 51323"/>
                  <a:gd name="connsiteY1307" fmla="*/ 15115 h 51323"/>
                  <a:gd name="connsiteX1308" fmla="*/ 29922 w 51323"/>
                  <a:gd name="connsiteY1308" fmla="*/ 16009 h 51323"/>
                  <a:gd name="connsiteX1309" fmla="*/ 30059 w 51323"/>
                  <a:gd name="connsiteY1309" fmla="*/ 16094 h 51323"/>
                  <a:gd name="connsiteX1310" fmla="*/ 30883 w 51323"/>
                  <a:gd name="connsiteY1310" fmla="*/ 16094 h 51323"/>
                  <a:gd name="connsiteX1311" fmla="*/ 32103 w 51323"/>
                  <a:gd name="connsiteY1311" fmla="*/ 15768 h 51323"/>
                  <a:gd name="connsiteX1312" fmla="*/ 32326 w 51323"/>
                  <a:gd name="connsiteY1312" fmla="*/ 15768 h 51323"/>
                  <a:gd name="connsiteX1313" fmla="*/ 32189 w 51323"/>
                  <a:gd name="connsiteY1313" fmla="*/ 15905 h 51323"/>
                  <a:gd name="connsiteX1314" fmla="*/ 32704 w 51323"/>
                  <a:gd name="connsiteY1314" fmla="*/ 14497 h 51323"/>
                  <a:gd name="connsiteX1315" fmla="*/ 33031 w 51323"/>
                  <a:gd name="connsiteY1315" fmla="*/ 14222 h 51323"/>
                  <a:gd name="connsiteX1316" fmla="*/ 32842 w 51323"/>
                  <a:gd name="connsiteY1316" fmla="*/ 14068 h 51323"/>
                  <a:gd name="connsiteX1317" fmla="*/ 32842 w 51323"/>
                  <a:gd name="connsiteY1317" fmla="*/ 13690 h 51323"/>
                  <a:gd name="connsiteX1318" fmla="*/ 32979 w 51323"/>
                  <a:gd name="connsiteY1318" fmla="*/ 13690 h 51323"/>
                  <a:gd name="connsiteX1319" fmla="*/ 33615 w 51323"/>
                  <a:gd name="connsiteY1319" fmla="*/ 13793 h 51323"/>
                  <a:gd name="connsiteX1320" fmla="*/ 33752 w 51323"/>
                  <a:gd name="connsiteY1320" fmla="*/ 13466 h 51323"/>
                  <a:gd name="connsiteX1321" fmla="*/ 33546 w 51323"/>
                  <a:gd name="connsiteY1321" fmla="*/ 13192 h 51323"/>
                  <a:gd name="connsiteX1322" fmla="*/ 33408 w 51323"/>
                  <a:gd name="connsiteY1322" fmla="*/ 13192 h 51323"/>
                  <a:gd name="connsiteX1323" fmla="*/ 33031 w 51323"/>
                  <a:gd name="connsiteY1323" fmla="*/ 13312 h 51323"/>
                  <a:gd name="connsiteX1324" fmla="*/ 33031 w 51323"/>
                  <a:gd name="connsiteY1324" fmla="*/ 13312 h 51323"/>
                  <a:gd name="connsiteX1325" fmla="*/ 33031 w 51323"/>
                  <a:gd name="connsiteY1325" fmla="*/ 13312 h 51323"/>
                  <a:gd name="connsiteX1326" fmla="*/ 32567 w 51323"/>
                  <a:gd name="connsiteY1326" fmla="*/ 13621 h 51323"/>
                  <a:gd name="connsiteX1327" fmla="*/ 32172 w 51323"/>
                  <a:gd name="connsiteY1327" fmla="*/ 13260 h 51323"/>
                  <a:gd name="connsiteX1328" fmla="*/ 31914 w 51323"/>
                  <a:gd name="connsiteY1328" fmla="*/ 12058 h 51323"/>
                  <a:gd name="connsiteX1329" fmla="*/ 32017 w 51323"/>
                  <a:gd name="connsiteY1329" fmla="*/ 12058 h 51323"/>
                  <a:gd name="connsiteX1330" fmla="*/ 32017 w 51323"/>
                  <a:gd name="connsiteY1330" fmla="*/ 11817 h 51323"/>
                  <a:gd name="connsiteX1331" fmla="*/ 32309 w 51323"/>
                  <a:gd name="connsiteY1331" fmla="*/ 11457 h 51323"/>
                  <a:gd name="connsiteX1332" fmla="*/ 31502 w 51323"/>
                  <a:gd name="connsiteY1332" fmla="*/ 11182 h 51323"/>
                  <a:gd name="connsiteX1333" fmla="*/ 31656 w 51323"/>
                  <a:gd name="connsiteY1333" fmla="*/ 11714 h 51323"/>
                  <a:gd name="connsiteX1334" fmla="*/ 31038 w 51323"/>
                  <a:gd name="connsiteY1334" fmla="*/ 12590 h 51323"/>
                  <a:gd name="connsiteX1335" fmla="*/ 31175 w 51323"/>
                  <a:gd name="connsiteY1335" fmla="*/ 12968 h 51323"/>
                  <a:gd name="connsiteX1336" fmla="*/ 31382 w 51323"/>
                  <a:gd name="connsiteY1336" fmla="*/ 13793 h 51323"/>
                  <a:gd name="connsiteX1337" fmla="*/ 31210 w 51323"/>
                  <a:gd name="connsiteY1337" fmla="*/ 13913 h 51323"/>
                  <a:gd name="connsiteX1338" fmla="*/ 31485 w 51323"/>
                  <a:gd name="connsiteY1338" fmla="*/ 14050 h 51323"/>
                  <a:gd name="connsiteX1339" fmla="*/ 31364 w 51323"/>
                  <a:gd name="connsiteY1339" fmla="*/ 14188 h 51323"/>
                  <a:gd name="connsiteX1340" fmla="*/ 31364 w 51323"/>
                  <a:gd name="connsiteY1340" fmla="*/ 14342 h 51323"/>
                  <a:gd name="connsiteX1341" fmla="*/ 31364 w 51323"/>
                  <a:gd name="connsiteY1341" fmla="*/ 14514 h 51323"/>
                  <a:gd name="connsiteX1342" fmla="*/ 31090 w 51323"/>
                  <a:gd name="connsiteY1342" fmla="*/ 15236 h 51323"/>
                  <a:gd name="connsiteX1343" fmla="*/ 30162 w 51323"/>
                  <a:gd name="connsiteY1343" fmla="*/ 14050 h 51323"/>
                  <a:gd name="connsiteX1344" fmla="*/ 29939 w 51323"/>
                  <a:gd name="connsiteY1344" fmla="*/ 13810 h 51323"/>
                  <a:gd name="connsiteX1345" fmla="*/ 29939 w 51323"/>
                  <a:gd name="connsiteY1345" fmla="*/ 14102 h 51323"/>
                  <a:gd name="connsiteX1346" fmla="*/ 29733 w 51323"/>
                  <a:gd name="connsiteY1346" fmla="*/ 13965 h 51323"/>
                  <a:gd name="connsiteX1347" fmla="*/ 29595 w 51323"/>
                  <a:gd name="connsiteY1347" fmla="*/ 14291 h 51323"/>
                  <a:gd name="connsiteX1348" fmla="*/ 29183 w 51323"/>
                  <a:gd name="connsiteY1348" fmla="*/ 14428 h 51323"/>
                  <a:gd name="connsiteX1349" fmla="*/ 29183 w 51323"/>
                  <a:gd name="connsiteY1349" fmla="*/ 14102 h 51323"/>
                  <a:gd name="connsiteX1350" fmla="*/ 29011 w 51323"/>
                  <a:gd name="connsiteY1350" fmla="*/ 13879 h 51323"/>
                  <a:gd name="connsiteX1351" fmla="*/ 29011 w 51323"/>
                  <a:gd name="connsiteY1351" fmla="*/ 13879 h 51323"/>
                  <a:gd name="connsiteX1352" fmla="*/ 29166 w 51323"/>
                  <a:gd name="connsiteY1352" fmla="*/ 13776 h 51323"/>
                  <a:gd name="connsiteX1353" fmla="*/ 29166 w 51323"/>
                  <a:gd name="connsiteY1353" fmla="*/ 13655 h 51323"/>
                  <a:gd name="connsiteX1354" fmla="*/ 29164 w 51323"/>
                  <a:gd name="connsiteY1354" fmla="*/ 13485 h 51323"/>
                  <a:gd name="connsiteX1355" fmla="*/ 29166 w 51323"/>
                  <a:gd name="connsiteY1355" fmla="*/ 13484 h 51323"/>
                  <a:gd name="connsiteX1356" fmla="*/ 28943 w 51323"/>
                  <a:gd name="connsiteY1356" fmla="*/ 13484 h 51323"/>
                  <a:gd name="connsiteX1357" fmla="*/ 28943 w 51323"/>
                  <a:gd name="connsiteY1357" fmla="*/ 13381 h 51323"/>
                  <a:gd name="connsiteX1358" fmla="*/ 29355 w 51323"/>
                  <a:gd name="connsiteY1358" fmla="*/ 13157 h 51323"/>
                  <a:gd name="connsiteX1359" fmla="*/ 28994 w 51323"/>
                  <a:gd name="connsiteY1359" fmla="*/ 13157 h 51323"/>
                  <a:gd name="connsiteX1360" fmla="*/ 29183 w 51323"/>
                  <a:gd name="connsiteY1360" fmla="*/ 13020 h 51323"/>
                  <a:gd name="connsiteX1361" fmla="*/ 29046 w 51323"/>
                  <a:gd name="connsiteY1361" fmla="*/ 12917 h 51323"/>
                  <a:gd name="connsiteX1362" fmla="*/ 29183 w 51323"/>
                  <a:gd name="connsiteY1362" fmla="*/ 12917 h 51323"/>
                  <a:gd name="connsiteX1363" fmla="*/ 29183 w 51323"/>
                  <a:gd name="connsiteY1363" fmla="*/ 12797 h 51323"/>
                  <a:gd name="connsiteX1364" fmla="*/ 29441 w 51323"/>
                  <a:gd name="connsiteY1364" fmla="*/ 12797 h 51323"/>
                  <a:gd name="connsiteX1365" fmla="*/ 29578 w 51323"/>
                  <a:gd name="connsiteY1365" fmla="*/ 12797 h 51323"/>
                  <a:gd name="connsiteX1366" fmla="*/ 29578 w 51323"/>
                  <a:gd name="connsiteY1366" fmla="*/ 12676 h 51323"/>
                  <a:gd name="connsiteX1367" fmla="*/ 29767 w 51323"/>
                  <a:gd name="connsiteY1367" fmla="*/ 12676 h 51323"/>
                  <a:gd name="connsiteX1368" fmla="*/ 30059 w 51323"/>
                  <a:gd name="connsiteY1368" fmla="*/ 12298 h 51323"/>
                  <a:gd name="connsiteX1369" fmla="*/ 29801 w 51323"/>
                  <a:gd name="connsiteY1369" fmla="*/ 12419 h 51323"/>
                  <a:gd name="connsiteX1370" fmla="*/ 29801 w 51323"/>
                  <a:gd name="connsiteY1370" fmla="*/ 12195 h 51323"/>
                  <a:gd name="connsiteX1371" fmla="*/ 30145 w 51323"/>
                  <a:gd name="connsiteY1371" fmla="*/ 11766 h 51323"/>
                  <a:gd name="connsiteX1372" fmla="*/ 30145 w 51323"/>
                  <a:gd name="connsiteY1372" fmla="*/ 11611 h 51323"/>
                  <a:gd name="connsiteX1373" fmla="*/ 30145 w 51323"/>
                  <a:gd name="connsiteY1373" fmla="*/ 11525 h 51323"/>
                  <a:gd name="connsiteX1374" fmla="*/ 30145 w 51323"/>
                  <a:gd name="connsiteY1374" fmla="*/ 11337 h 51323"/>
                  <a:gd name="connsiteX1375" fmla="*/ 30025 w 51323"/>
                  <a:gd name="connsiteY1375" fmla="*/ 11148 h 51323"/>
                  <a:gd name="connsiteX1376" fmla="*/ 30334 w 51323"/>
                  <a:gd name="connsiteY1376" fmla="*/ 10976 h 51323"/>
                  <a:gd name="connsiteX1377" fmla="*/ 30334 w 51323"/>
                  <a:gd name="connsiteY1377" fmla="*/ 10838 h 51323"/>
                  <a:gd name="connsiteX1378" fmla="*/ 30334 w 51323"/>
                  <a:gd name="connsiteY1378" fmla="*/ 10684 h 51323"/>
                  <a:gd name="connsiteX1379" fmla="*/ 30334 w 51323"/>
                  <a:gd name="connsiteY1379" fmla="*/ 10478 h 51323"/>
                  <a:gd name="connsiteX1380" fmla="*/ 30506 w 51323"/>
                  <a:gd name="connsiteY1380" fmla="*/ 10478 h 51323"/>
                  <a:gd name="connsiteX1381" fmla="*/ 30506 w 51323"/>
                  <a:gd name="connsiteY1381" fmla="*/ 10323 h 51323"/>
                  <a:gd name="connsiteX1382" fmla="*/ 30506 w 51323"/>
                  <a:gd name="connsiteY1382" fmla="*/ 10220 h 51323"/>
                  <a:gd name="connsiteX1383" fmla="*/ 30609 w 51323"/>
                  <a:gd name="connsiteY1383" fmla="*/ 10117 h 51323"/>
                  <a:gd name="connsiteX1384" fmla="*/ 30609 w 51323"/>
                  <a:gd name="connsiteY1384" fmla="*/ 10117 h 51323"/>
                  <a:gd name="connsiteX1385" fmla="*/ 30609 w 51323"/>
                  <a:gd name="connsiteY1385" fmla="*/ 10117 h 51323"/>
                  <a:gd name="connsiteX1386" fmla="*/ 30609 w 51323"/>
                  <a:gd name="connsiteY1386" fmla="*/ 10117 h 51323"/>
                  <a:gd name="connsiteX1387" fmla="*/ 30798 w 51323"/>
                  <a:gd name="connsiteY1387" fmla="*/ 10117 h 51323"/>
                  <a:gd name="connsiteX1388" fmla="*/ 30798 w 51323"/>
                  <a:gd name="connsiteY1388" fmla="*/ 9739 h 51323"/>
                  <a:gd name="connsiteX1389" fmla="*/ 31124 w 51323"/>
                  <a:gd name="connsiteY1389" fmla="*/ 9894 h 51323"/>
                  <a:gd name="connsiteX1390" fmla="*/ 31124 w 51323"/>
                  <a:gd name="connsiteY1390" fmla="*/ 9619 h 51323"/>
                  <a:gd name="connsiteX1391" fmla="*/ 31124 w 51323"/>
                  <a:gd name="connsiteY1391" fmla="*/ 9619 h 51323"/>
                  <a:gd name="connsiteX1392" fmla="*/ 31124 w 51323"/>
                  <a:gd name="connsiteY1392" fmla="*/ 9619 h 51323"/>
                  <a:gd name="connsiteX1393" fmla="*/ 31261 w 51323"/>
                  <a:gd name="connsiteY1393" fmla="*/ 9619 h 51323"/>
                  <a:gd name="connsiteX1394" fmla="*/ 31450 w 51323"/>
                  <a:gd name="connsiteY1394" fmla="*/ 9499 h 51323"/>
                  <a:gd name="connsiteX1395" fmla="*/ 31553 w 51323"/>
                  <a:gd name="connsiteY1395" fmla="*/ 9842 h 51323"/>
                  <a:gd name="connsiteX1396" fmla="*/ 31674 w 51323"/>
                  <a:gd name="connsiteY1396" fmla="*/ 9842 h 51323"/>
                  <a:gd name="connsiteX1397" fmla="*/ 31845 w 51323"/>
                  <a:gd name="connsiteY1397" fmla="*/ 9842 h 51323"/>
                  <a:gd name="connsiteX1398" fmla="*/ 31742 w 51323"/>
                  <a:gd name="connsiteY1398" fmla="*/ 10031 h 51323"/>
                  <a:gd name="connsiteX1399" fmla="*/ 32000 w 51323"/>
                  <a:gd name="connsiteY1399" fmla="*/ 10220 h 51323"/>
                  <a:gd name="connsiteX1400" fmla="*/ 32275 w 51323"/>
                  <a:gd name="connsiteY1400" fmla="*/ 10220 h 51323"/>
                  <a:gd name="connsiteX1401" fmla="*/ 32275 w 51323"/>
                  <a:gd name="connsiteY1401" fmla="*/ 10048 h 51323"/>
                  <a:gd name="connsiteX1402" fmla="*/ 32378 w 51323"/>
                  <a:gd name="connsiteY1402" fmla="*/ 10048 h 51323"/>
                  <a:gd name="connsiteX1403" fmla="*/ 32584 w 51323"/>
                  <a:gd name="connsiteY1403" fmla="*/ 10220 h 51323"/>
                  <a:gd name="connsiteX1404" fmla="*/ 33683 w 51323"/>
                  <a:gd name="connsiteY1404" fmla="*/ 10529 h 51323"/>
                  <a:gd name="connsiteX1405" fmla="*/ 33804 w 51323"/>
                  <a:gd name="connsiteY1405" fmla="*/ 10529 h 51323"/>
                  <a:gd name="connsiteX1406" fmla="*/ 33597 w 51323"/>
                  <a:gd name="connsiteY1406" fmla="*/ 11354 h 51323"/>
                  <a:gd name="connsiteX1407" fmla="*/ 33426 w 51323"/>
                  <a:gd name="connsiteY1407" fmla="*/ 11354 h 51323"/>
                  <a:gd name="connsiteX1408" fmla="*/ 33065 w 51323"/>
                  <a:gd name="connsiteY1408" fmla="*/ 11354 h 51323"/>
                  <a:gd name="connsiteX1409" fmla="*/ 33357 w 51323"/>
                  <a:gd name="connsiteY1409" fmla="*/ 11663 h 51323"/>
                  <a:gd name="connsiteX1410" fmla="*/ 34576 w 51323"/>
                  <a:gd name="connsiteY1410" fmla="*/ 12333 h 51323"/>
                  <a:gd name="connsiteX1411" fmla="*/ 34250 w 51323"/>
                  <a:gd name="connsiteY1411" fmla="*/ 12006 h 51323"/>
                  <a:gd name="connsiteX1412" fmla="*/ 34972 w 51323"/>
                  <a:gd name="connsiteY1412" fmla="*/ 11474 h 51323"/>
                  <a:gd name="connsiteX1413" fmla="*/ 35143 w 51323"/>
                  <a:gd name="connsiteY1413" fmla="*/ 11474 h 51323"/>
                  <a:gd name="connsiteX1414" fmla="*/ 34181 w 51323"/>
                  <a:gd name="connsiteY1414" fmla="*/ 10340 h 51323"/>
                  <a:gd name="connsiteX1415" fmla="*/ 34800 w 51323"/>
                  <a:gd name="connsiteY1415" fmla="*/ 10753 h 51323"/>
                  <a:gd name="connsiteX1416" fmla="*/ 35143 w 51323"/>
                  <a:gd name="connsiteY1416" fmla="*/ 10529 h 51323"/>
                  <a:gd name="connsiteX1417" fmla="*/ 35401 w 51323"/>
                  <a:gd name="connsiteY1417" fmla="*/ 10289 h 51323"/>
                  <a:gd name="connsiteX1418" fmla="*/ 35401 w 51323"/>
                  <a:gd name="connsiteY1418" fmla="*/ 10151 h 51323"/>
                  <a:gd name="connsiteX1419" fmla="*/ 35727 w 51323"/>
                  <a:gd name="connsiteY1419" fmla="*/ 10306 h 51323"/>
                  <a:gd name="connsiteX1420" fmla="*/ 35727 w 51323"/>
                  <a:gd name="connsiteY1420" fmla="*/ 10306 h 51323"/>
                  <a:gd name="connsiteX1421" fmla="*/ 35830 w 51323"/>
                  <a:gd name="connsiteY1421" fmla="*/ 9842 h 51323"/>
                  <a:gd name="connsiteX1422" fmla="*/ 36019 w 51323"/>
                  <a:gd name="connsiteY1422" fmla="*/ 9945 h 51323"/>
                  <a:gd name="connsiteX1423" fmla="*/ 36122 w 51323"/>
                  <a:gd name="connsiteY1423" fmla="*/ 9945 h 51323"/>
                  <a:gd name="connsiteX1424" fmla="*/ 35848 w 51323"/>
                  <a:gd name="connsiteY1424" fmla="*/ 9773 h 51323"/>
                  <a:gd name="connsiteX1425" fmla="*/ 35848 w 51323"/>
                  <a:gd name="connsiteY1425" fmla="*/ 9773 h 51323"/>
                  <a:gd name="connsiteX1426" fmla="*/ 36981 w 51323"/>
                  <a:gd name="connsiteY1426" fmla="*/ 9894 h 51323"/>
                  <a:gd name="connsiteX1427" fmla="*/ 36260 w 51323"/>
                  <a:gd name="connsiteY1427" fmla="*/ 9361 h 51323"/>
                  <a:gd name="connsiteX1428" fmla="*/ 36260 w 51323"/>
                  <a:gd name="connsiteY1428" fmla="*/ 9361 h 51323"/>
                  <a:gd name="connsiteX1429" fmla="*/ 36140 w 51323"/>
                  <a:gd name="connsiteY1429" fmla="*/ 9361 h 51323"/>
                  <a:gd name="connsiteX1430" fmla="*/ 36140 w 51323"/>
                  <a:gd name="connsiteY1430" fmla="*/ 9361 h 51323"/>
                  <a:gd name="connsiteX1431" fmla="*/ 35882 w 51323"/>
                  <a:gd name="connsiteY1431" fmla="*/ 9155 h 51323"/>
                  <a:gd name="connsiteX1432" fmla="*/ 35727 w 51323"/>
                  <a:gd name="connsiteY1432" fmla="*/ 8983 h 51323"/>
                  <a:gd name="connsiteX1433" fmla="*/ 34594 w 51323"/>
                  <a:gd name="connsiteY1433" fmla="*/ 7884 h 51323"/>
                  <a:gd name="connsiteX1434" fmla="*/ 37136 w 51323"/>
                  <a:gd name="connsiteY1434" fmla="*/ 9602 h 51323"/>
                  <a:gd name="connsiteX1435" fmla="*/ 37136 w 51323"/>
                  <a:gd name="connsiteY1435" fmla="*/ 9602 h 51323"/>
                  <a:gd name="connsiteX1436" fmla="*/ 37806 w 51323"/>
                  <a:gd name="connsiteY1436" fmla="*/ 10289 h 51323"/>
                  <a:gd name="connsiteX1437" fmla="*/ 37806 w 51323"/>
                  <a:gd name="connsiteY1437" fmla="*/ 10289 h 51323"/>
                  <a:gd name="connsiteX1438" fmla="*/ 37806 w 51323"/>
                  <a:gd name="connsiteY1438" fmla="*/ 10289 h 51323"/>
                  <a:gd name="connsiteX1439" fmla="*/ 37703 w 51323"/>
                  <a:gd name="connsiteY1439" fmla="*/ 10426 h 51323"/>
                  <a:gd name="connsiteX1440" fmla="*/ 37101 w 51323"/>
                  <a:gd name="connsiteY1440" fmla="*/ 9275 h 51323"/>
                  <a:gd name="connsiteX1441" fmla="*/ 37101 w 51323"/>
                  <a:gd name="connsiteY1441" fmla="*/ 9275 h 51323"/>
                  <a:gd name="connsiteX1442" fmla="*/ 34851 w 51323"/>
                  <a:gd name="connsiteY1442" fmla="*/ 7850 h 51323"/>
                  <a:gd name="connsiteX1443" fmla="*/ 35933 w 51323"/>
                  <a:gd name="connsiteY1443" fmla="*/ 8451 h 51323"/>
                  <a:gd name="connsiteX1444" fmla="*/ 36105 w 51323"/>
                  <a:gd name="connsiteY1444" fmla="*/ 8451 h 51323"/>
                  <a:gd name="connsiteX1445" fmla="*/ 35367 w 51323"/>
                  <a:gd name="connsiteY1445" fmla="*/ 8125 h 51323"/>
                  <a:gd name="connsiteX1446" fmla="*/ 35367 w 51323"/>
                  <a:gd name="connsiteY1446" fmla="*/ 8039 h 51323"/>
                  <a:gd name="connsiteX1447" fmla="*/ 35367 w 51323"/>
                  <a:gd name="connsiteY1447" fmla="*/ 8039 h 51323"/>
                  <a:gd name="connsiteX1448" fmla="*/ 36363 w 51323"/>
                  <a:gd name="connsiteY1448" fmla="*/ 8331 h 51323"/>
                  <a:gd name="connsiteX1449" fmla="*/ 37256 w 51323"/>
                  <a:gd name="connsiteY1449" fmla="*/ 8812 h 51323"/>
                  <a:gd name="connsiteX1450" fmla="*/ 37428 w 51323"/>
                  <a:gd name="connsiteY1450" fmla="*/ 8812 h 51323"/>
                  <a:gd name="connsiteX1451" fmla="*/ 37101 w 51323"/>
                  <a:gd name="connsiteY1451" fmla="*/ 8709 h 51323"/>
                  <a:gd name="connsiteX1452" fmla="*/ 35384 w 51323"/>
                  <a:gd name="connsiteY1452" fmla="*/ 7798 h 51323"/>
                  <a:gd name="connsiteX1453" fmla="*/ 34525 w 51323"/>
                  <a:gd name="connsiteY1453" fmla="*/ 7231 h 51323"/>
                  <a:gd name="connsiteX1454" fmla="*/ 34851 w 51323"/>
                  <a:gd name="connsiteY1454" fmla="*/ 7317 h 51323"/>
                  <a:gd name="connsiteX1455" fmla="*/ 34267 w 51323"/>
                  <a:gd name="connsiteY1455" fmla="*/ 7008 h 51323"/>
                  <a:gd name="connsiteX1456" fmla="*/ 34027 w 51323"/>
                  <a:gd name="connsiteY1456" fmla="*/ 6922 h 51323"/>
                  <a:gd name="connsiteX1457" fmla="*/ 34027 w 51323"/>
                  <a:gd name="connsiteY1457" fmla="*/ 6922 h 51323"/>
                  <a:gd name="connsiteX1458" fmla="*/ 33872 w 51323"/>
                  <a:gd name="connsiteY1458" fmla="*/ 6922 h 51323"/>
                  <a:gd name="connsiteX1459" fmla="*/ 33872 w 51323"/>
                  <a:gd name="connsiteY1459" fmla="*/ 6922 h 51323"/>
                  <a:gd name="connsiteX1460" fmla="*/ 33615 w 51323"/>
                  <a:gd name="connsiteY1460" fmla="*/ 6768 h 51323"/>
                  <a:gd name="connsiteX1461" fmla="*/ 33615 w 51323"/>
                  <a:gd name="connsiteY1461" fmla="*/ 6768 h 51323"/>
                  <a:gd name="connsiteX1462" fmla="*/ 33168 w 51323"/>
                  <a:gd name="connsiteY1462" fmla="*/ 6458 h 51323"/>
                  <a:gd name="connsiteX1463" fmla="*/ 33168 w 51323"/>
                  <a:gd name="connsiteY1463" fmla="*/ 6458 h 51323"/>
                  <a:gd name="connsiteX1464" fmla="*/ 32910 w 51323"/>
                  <a:gd name="connsiteY1464" fmla="*/ 6287 h 51323"/>
                  <a:gd name="connsiteX1465" fmla="*/ 32910 w 51323"/>
                  <a:gd name="connsiteY1465" fmla="*/ 6287 h 51323"/>
                  <a:gd name="connsiteX1466" fmla="*/ 32910 w 51323"/>
                  <a:gd name="connsiteY1466" fmla="*/ 6287 h 51323"/>
                  <a:gd name="connsiteX1467" fmla="*/ 32910 w 51323"/>
                  <a:gd name="connsiteY1467" fmla="*/ 6287 h 51323"/>
                  <a:gd name="connsiteX1468" fmla="*/ 32687 w 51323"/>
                  <a:gd name="connsiteY1468" fmla="*/ 6184 h 51323"/>
                  <a:gd name="connsiteX1469" fmla="*/ 32687 w 51323"/>
                  <a:gd name="connsiteY1469" fmla="*/ 6184 h 51323"/>
                  <a:gd name="connsiteX1470" fmla="*/ 32687 w 51323"/>
                  <a:gd name="connsiteY1470" fmla="*/ 6184 h 51323"/>
                  <a:gd name="connsiteX1471" fmla="*/ 32687 w 51323"/>
                  <a:gd name="connsiteY1471" fmla="*/ 6184 h 51323"/>
                  <a:gd name="connsiteX1472" fmla="*/ 32687 w 51323"/>
                  <a:gd name="connsiteY1472" fmla="*/ 6184 h 51323"/>
                  <a:gd name="connsiteX1473" fmla="*/ 32962 w 51323"/>
                  <a:gd name="connsiteY1473" fmla="*/ 6287 h 51323"/>
                  <a:gd name="connsiteX1474" fmla="*/ 32739 w 51323"/>
                  <a:gd name="connsiteY1474" fmla="*/ 6184 h 51323"/>
                  <a:gd name="connsiteX1475" fmla="*/ 32893 w 51323"/>
                  <a:gd name="connsiteY1475" fmla="*/ 6184 h 51323"/>
                  <a:gd name="connsiteX1476" fmla="*/ 32807 w 51323"/>
                  <a:gd name="connsiteY1476" fmla="*/ 6184 h 51323"/>
                  <a:gd name="connsiteX1477" fmla="*/ 32670 w 51323"/>
                  <a:gd name="connsiteY1477" fmla="*/ 6184 h 51323"/>
                  <a:gd name="connsiteX1478" fmla="*/ 32670 w 51323"/>
                  <a:gd name="connsiteY1478" fmla="*/ 6184 h 51323"/>
                  <a:gd name="connsiteX1479" fmla="*/ 32532 w 51323"/>
                  <a:gd name="connsiteY1479" fmla="*/ 6184 h 51323"/>
                  <a:gd name="connsiteX1480" fmla="*/ 32876 w 51323"/>
                  <a:gd name="connsiteY1480" fmla="*/ 6304 h 51323"/>
                  <a:gd name="connsiteX1481" fmla="*/ 32481 w 51323"/>
                  <a:gd name="connsiteY1481" fmla="*/ 6166 h 51323"/>
                  <a:gd name="connsiteX1482" fmla="*/ 32481 w 51323"/>
                  <a:gd name="connsiteY1482" fmla="*/ 6166 h 51323"/>
                  <a:gd name="connsiteX1483" fmla="*/ 32343 w 51323"/>
                  <a:gd name="connsiteY1483" fmla="*/ 6166 h 51323"/>
                  <a:gd name="connsiteX1484" fmla="*/ 32343 w 51323"/>
                  <a:gd name="connsiteY1484" fmla="*/ 6166 h 51323"/>
                  <a:gd name="connsiteX1485" fmla="*/ 32343 w 51323"/>
                  <a:gd name="connsiteY1485" fmla="*/ 6166 h 51323"/>
                  <a:gd name="connsiteX1486" fmla="*/ 32206 w 51323"/>
                  <a:gd name="connsiteY1486" fmla="*/ 6166 h 51323"/>
                  <a:gd name="connsiteX1487" fmla="*/ 32206 w 51323"/>
                  <a:gd name="connsiteY1487" fmla="*/ 6166 h 51323"/>
                  <a:gd name="connsiteX1488" fmla="*/ 31742 w 51323"/>
                  <a:gd name="connsiteY1488" fmla="*/ 6029 h 51323"/>
                  <a:gd name="connsiteX1489" fmla="*/ 31742 w 51323"/>
                  <a:gd name="connsiteY1489" fmla="*/ 6029 h 51323"/>
                  <a:gd name="connsiteX1490" fmla="*/ 30952 w 51323"/>
                  <a:gd name="connsiteY1490" fmla="*/ 5754 h 51323"/>
                  <a:gd name="connsiteX1491" fmla="*/ 30952 w 51323"/>
                  <a:gd name="connsiteY1491" fmla="*/ 5754 h 51323"/>
                  <a:gd name="connsiteX1492" fmla="*/ 31055 w 51323"/>
                  <a:gd name="connsiteY1492" fmla="*/ 5754 h 51323"/>
                  <a:gd name="connsiteX1493" fmla="*/ 31055 w 51323"/>
                  <a:gd name="connsiteY1493" fmla="*/ 5754 h 51323"/>
                  <a:gd name="connsiteX1494" fmla="*/ 31605 w 51323"/>
                  <a:gd name="connsiteY1494" fmla="*/ 5909 h 51323"/>
                  <a:gd name="connsiteX1495" fmla="*/ 31416 w 51323"/>
                  <a:gd name="connsiteY1495" fmla="*/ 5909 h 51323"/>
                  <a:gd name="connsiteX1496" fmla="*/ 31588 w 51323"/>
                  <a:gd name="connsiteY1496" fmla="*/ 5909 h 51323"/>
                  <a:gd name="connsiteX1497" fmla="*/ 31485 w 51323"/>
                  <a:gd name="connsiteY1497" fmla="*/ 5909 h 51323"/>
                  <a:gd name="connsiteX1498" fmla="*/ 31485 w 51323"/>
                  <a:gd name="connsiteY1498" fmla="*/ 5909 h 51323"/>
                  <a:gd name="connsiteX1499" fmla="*/ 31485 w 51323"/>
                  <a:gd name="connsiteY1499" fmla="*/ 5909 h 51323"/>
                  <a:gd name="connsiteX1500" fmla="*/ 31811 w 51323"/>
                  <a:gd name="connsiteY1500" fmla="*/ 5909 h 51323"/>
                  <a:gd name="connsiteX1501" fmla="*/ 31811 w 51323"/>
                  <a:gd name="connsiteY1501" fmla="*/ 5909 h 51323"/>
                  <a:gd name="connsiteX1502" fmla="*/ 31708 w 51323"/>
                  <a:gd name="connsiteY1502" fmla="*/ 5909 h 51323"/>
                  <a:gd name="connsiteX1503" fmla="*/ 31708 w 51323"/>
                  <a:gd name="connsiteY1503" fmla="*/ 5909 h 51323"/>
                  <a:gd name="connsiteX1504" fmla="*/ 31708 w 51323"/>
                  <a:gd name="connsiteY1504" fmla="*/ 5909 h 51323"/>
                  <a:gd name="connsiteX1505" fmla="*/ 31708 w 51323"/>
                  <a:gd name="connsiteY1505" fmla="*/ 5909 h 51323"/>
                  <a:gd name="connsiteX1506" fmla="*/ 31708 w 51323"/>
                  <a:gd name="connsiteY1506" fmla="*/ 5909 h 51323"/>
                  <a:gd name="connsiteX1507" fmla="*/ 32292 w 51323"/>
                  <a:gd name="connsiteY1507" fmla="*/ 6046 h 51323"/>
                  <a:gd name="connsiteX1508" fmla="*/ 32051 w 51323"/>
                  <a:gd name="connsiteY1508" fmla="*/ 6046 h 51323"/>
                  <a:gd name="connsiteX1509" fmla="*/ 32378 w 51323"/>
                  <a:gd name="connsiteY1509" fmla="*/ 6046 h 51323"/>
                  <a:gd name="connsiteX1510" fmla="*/ 32635 w 51323"/>
                  <a:gd name="connsiteY1510" fmla="*/ 6046 h 51323"/>
                  <a:gd name="connsiteX1511" fmla="*/ 32635 w 51323"/>
                  <a:gd name="connsiteY1511" fmla="*/ 6046 h 51323"/>
                  <a:gd name="connsiteX1512" fmla="*/ 32773 w 51323"/>
                  <a:gd name="connsiteY1512" fmla="*/ 6046 h 51323"/>
                  <a:gd name="connsiteX1513" fmla="*/ 32773 w 51323"/>
                  <a:gd name="connsiteY1513" fmla="*/ 6046 h 51323"/>
                  <a:gd name="connsiteX1514" fmla="*/ 32773 w 51323"/>
                  <a:gd name="connsiteY1514" fmla="*/ 6046 h 51323"/>
                  <a:gd name="connsiteX1515" fmla="*/ 34010 w 51323"/>
                  <a:gd name="connsiteY1515" fmla="*/ 6493 h 51323"/>
                  <a:gd name="connsiteX1516" fmla="*/ 34010 w 51323"/>
                  <a:gd name="connsiteY1516" fmla="*/ 6493 h 51323"/>
                  <a:gd name="connsiteX1517" fmla="*/ 34645 w 51323"/>
                  <a:gd name="connsiteY1517" fmla="*/ 6768 h 51323"/>
                  <a:gd name="connsiteX1518" fmla="*/ 34645 w 51323"/>
                  <a:gd name="connsiteY1518" fmla="*/ 6768 h 51323"/>
                  <a:gd name="connsiteX1519" fmla="*/ 35470 w 51323"/>
                  <a:gd name="connsiteY1519" fmla="*/ 7163 h 51323"/>
                  <a:gd name="connsiteX1520" fmla="*/ 34662 w 51323"/>
                  <a:gd name="connsiteY1520" fmla="*/ 6733 h 51323"/>
                  <a:gd name="connsiteX1521" fmla="*/ 34662 w 51323"/>
                  <a:gd name="connsiteY1521" fmla="*/ 6733 h 51323"/>
                  <a:gd name="connsiteX1522" fmla="*/ 34353 w 51323"/>
                  <a:gd name="connsiteY1522" fmla="*/ 6596 h 51323"/>
                  <a:gd name="connsiteX1523" fmla="*/ 34491 w 51323"/>
                  <a:gd name="connsiteY1523" fmla="*/ 6596 h 51323"/>
                  <a:gd name="connsiteX1524" fmla="*/ 34250 w 51323"/>
                  <a:gd name="connsiteY1524" fmla="*/ 6493 h 51323"/>
                  <a:gd name="connsiteX1525" fmla="*/ 34113 w 51323"/>
                  <a:gd name="connsiteY1525" fmla="*/ 6493 h 51323"/>
                  <a:gd name="connsiteX1526" fmla="*/ 34422 w 51323"/>
                  <a:gd name="connsiteY1526" fmla="*/ 6596 h 51323"/>
                  <a:gd name="connsiteX1527" fmla="*/ 34113 w 51323"/>
                  <a:gd name="connsiteY1527" fmla="*/ 6476 h 51323"/>
                  <a:gd name="connsiteX1528" fmla="*/ 34628 w 51323"/>
                  <a:gd name="connsiteY1528" fmla="*/ 6630 h 51323"/>
                  <a:gd name="connsiteX1529" fmla="*/ 34473 w 51323"/>
                  <a:gd name="connsiteY1529" fmla="*/ 6630 h 51323"/>
                  <a:gd name="connsiteX1530" fmla="*/ 34473 w 51323"/>
                  <a:gd name="connsiteY1530" fmla="*/ 6630 h 51323"/>
                  <a:gd name="connsiteX1531" fmla="*/ 33700 w 51323"/>
                  <a:gd name="connsiteY1531" fmla="*/ 4827 h 51323"/>
                  <a:gd name="connsiteX1532" fmla="*/ 49314 w 51323"/>
                  <a:gd name="connsiteY1532" fmla="*/ 25438 h 51323"/>
                  <a:gd name="connsiteX1533" fmla="*/ 49177 w 51323"/>
                  <a:gd name="connsiteY1533" fmla="*/ 26452 h 51323"/>
                  <a:gd name="connsiteX1534" fmla="*/ 49159 w 51323"/>
                  <a:gd name="connsiteY1534" fmla="*/ 26589 h 5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</a:cxnLst>
                <a:rect l="l" t="t" r="r" b="b"/>
                <a:pathLst>
                  <a:path w="51323" h="51323">
                    <a:moveTo>
                      <a:pt x="25662" y="0"/>
                    </a:moveTo>
                    <a:cubicBezTo>
                      <a:pt x="11489" y="0"/>
                      <a:pt x="0" y="11489"/>
                      <a:pt x="0" y="25662"/>
                    </a:cubicBezTo>
                    <a:cubicBezTo>
                      <a:pt x="0" y="39834"/>
                      <a:pt x="11489" y="51323"/>
                      <a:pt x="25662" y="51323"/>
                    </a:cubicBezTo>
                    <a:cubicBezTo>
                      <a:pt x="39835" y="51323"/>
                      <a:pt x="51324" y="39834"/>
                      <a:pt x="51324" y="25662"/>
                    </a:cubicBezTo>
                    <a:cubicBezTo>
                      <a:pt x="51324" y="25645"/>
                      <a:pt x="51324" y="25627"/>
                      <a:pt x="51324" y="25610"/>
                    </a:cubicBezTo>
                    <a:cubicBezTo>
                      <a:pt x="51314" y="11457"/>
                      <a:pt x="39833" y="-9"/>
                      <a:pt x="25679" y="0"/>
                    </a:cubicBezTo>
                    <a:cubicBezTo>
                      <a:pt x="25673" y="0"/>
                      <a:pt x="25667" y="0"/>
                      <a:pt x="25662" y="0"/>
                    </a:cubicBezTo>
                    <a:close/>
                    <a:moveTo>
                      <a:pt x="26967" y="15648"/>
                    </a:moveTo>
                    <a:cubicBezTo>
                      <a:pt x="26864" y="15648"/>
                      <a:pt x="26967" y="15785"/>
                      <a:pt x="26967" y="15837"/>
                    </a:cubicBezTo>
                    <a:cubicBezTo>
                      <a:pt x="26894" y="15820"/>
                      <a:pt x="26817" y="15820"/>
                      <a:pt x="26744" y="15837"/>
                    </a:cubicBezTo>
                    <a:cubicBezTo>
                      <a:pt x="26899" y="15837"/>
                      <a:pt x="27139" y="16043"/>
                      <a:pt x="26933" y="16163"/>
                    </a:cubicBezTo>
                    <a:cubicBezTo>
                      <a:pt x="26727" y="16283"/>
                      <a:pt x="27019" y="16163"/>
                      <a:pt x="27036" y="16163"/>
                    </a:cubicBezTo>
                    <a:cubicBezTo>
                      <a:pt x="27173" y="15854"/>
                      <a:pt x="27586" y="16283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294" y="16489"/>
                      <a:pt x="27294" y="16489"/>
                    </a:cubicBezTo>
                    <a:lnTo>
                      <a:pt x="27294" y="16489"/>
                    </a:lnTo>
                    <a:cubicBezTo>
                      <a:pt x="27294" y="16489"/>
                      <a:pt x="27191" y="16489"/>
                      <a:pt x="27156" y="16489"/>
                    </a:cubicBezTo>
                    <a:cubicBezTo>
                      <a:pt x="27122" y="16489"/>
                      <a:pt x="27156" y="16489"/>
                      <a:pt x="27156" y="16593"/>
                    </a:cubicBezTo>
                    <a:cubicBezTo>
                      <a:pt x="27156" y="16696"/>
                      <a:pt x="27276" y="16593"/>
                      <a:pt x="27156" y="16593"/>
                    </a:cubicBezTo>
                    <a:cubicBezTo>
                      <a:pt x="27036" y="16593"/>
                      <a:pt x="27294" y="16593"/>
                      <a:pt x="27379" y="16593"/>
                    </a:cubicBezTo>
                    <a:cubicBezTo>
                      <a:pt x="27465" y="16593"/>
                      <a:pt x="27276" y="16713"/>
                      <a:pt x="27276" y="16799"/>
                    </a:cubicBezTo>
                    <a:cubicBezTo>
                      <a:pt x="27276" y="16885"/>
                      <a:pt x="26795" y="16936"/>
                      <a:pt x="26744" y="16799"/>
                    </a:cubicBezTo>
                    <a:cubicBezTo>
                      <a:pt x="26692" y="16661"/>
                      <a:pt x="26297" y="16799"/>
                      <a:pt x="26074" y="16902"/>
                    </a:cubicBezTo>
                    <a:cubicBezTo>
                      <a:pt x="25851" y="17005"/>
                      <a:pt x="26074" y="17125"/>
                      <a:pt x="25868" y="16988"/>
                    </a:cubicBezTo>
                    <a:cubicBezTo>
                      <a:pt x="25662" y="16850"/>
                      <a:pt x="25610" y="16988"/>
                      <a:pt x="25559" y="17142"/>
                    </a:cubicBezTo>
                    <a:cubicBezTo>
                      <a:pt x="25507" y="17297"/>
                      <a:pt x="25559" y="17142"/>
                      <a:pt x="25404" y="17142"/>
                    </a:cubicBezTo>
                    <a:cubicBezTo>
                      <a:pt x="25553" y="17029"/>
                      <a:pt x="25690" y="16902"/>
                      <a:pt x="25816" y="16764"/>
                    </a:cubicBezTo>
                    <a:cubicBezTo>
                      <a:pt x="25816" y="16593"/>
                      <a:pt x="26057" y="16764"/>
                      <a:pt x="26194" y="16764"/>
                    </a:cubicBezTo>
                    <a:cubicBezTo>
                      <a:pt x="26332" y="16764"/>
                      <a:pt x="26297" y="16610"/>
                      <a:pt x="26349" y="16541"/>
                    </a:cubicBezTo>
                    <a:cubicBezTo>
                      <a:pt x="26400" y="16472"/>
                      <a:pt x="26091" y="16764"/>
                      <a:pt x="26005" y="16627"/>
                    </a:cubicBezTo>
                    <a:cubicBezTo>
                      <a:pt x="25919" y="16489"/>
                      <a:pt x="25748" y="16627"/>
                      <a:pt x="25902" y="16627"/>
                    </a:cubicBezTo>
                    <a:cubicBezTo>
                      <a:pt x="26057" y="16627"/>
                      <a:pt x="25765" y="16627"/>
                      <a:pt x="25662" y="16627"/>
                    </a:cubicBezTo>
                    <a:lnTo>
                      <a:pt x="25662" y="16627"/>
                    </a:lnTo>
                    <a:cubicBezTo>
                      <a:pt x="25662" y="16627"/>
                      <a:pt x="25662" y="16627"/>
                      <a:pt x="25662" y="16627"/>
                    </a:cubicBezTo>
                    <a:cubicBezTo>
                      <a:pt x="25919" y="16541"/>
                      <a:pt x="26040" y="16472"/>
                      <a:pt x="26005" y="16215"/>
                    </a:cubicBezTo>
                    <a:lnTo>
                      <a:pt x="25834" y="16215"/>
                    </a:lnTo>
                    <a:cubicBezTo>
                      <a:pt x="25954" y="16094"/>
                      <a:pt x="26126" y="15940"/>
                      <a:pt x="26297" y="16060"/>
                    </a:cubicBezTo>
                    <a:cubicBezTo>
                      <a:pt x="26160" y="15888"/>
                      <a:pt x="26297" y="16060"/>
                      <a:pt x="26297" y="16060"/>
                    </a:cubicBezTo>
                    <a:cubicBezTo>
                      <a:pt x="26297" y="16060"/>
                      <a:pt x="26194" y="15837"/>
                      <a:pt x="26297" y="15785"/>
                    </a:cubicBezTo>
                    <a:cubicBezTo>
                      <a:pt x="26400" y="15734"/>
                      <a:pt x="26297" y="15648"/>
                      <a:pt x="26194" y="15785"/>
                    </a:cubicBezTo>
                    <a:lnTo>
                      <a:pt x="26194" y="15785"/>
                    </a:lnTo>
                    <a:cubicBezTo>
                      <a:pt x="26057" y="15785"/>
                      <a:pt x="26194" y="15476"/>
                      <a:pt x="26194" y="15493"/>
                    </a:cubicBezTo>
                    <a:cubicBezTo>
                      <a:pt x="26023" y="15493"/>
                      <a:pt x="25988" y="15613"/>
                      <a:pt x="25834" y="15493"/>
                    </a:cubicBezTo>
                    <a:cubicBezTo>
                      <a:pt x="25679" y="15373"/>
                      <a:pt x="25834" y="15493"/>
                      <a:pt x="25834" y="15596"/>
                    </a:cubicBezTo>
                    <a:cubicBezTo>
                      <a:pt x="25834" y="15699"/>
                      <a:pt x="25662" y="15459"/>
                      <a:pt x="25713" y="15596"/>
                    </a:cubicBezTo>
                    <a:cubicBezTo>
                      <a:pt x="25765" y="15734"/>
                      <a:pt x="25713" y="15493"/>
                      <a:pt x="25713" y="15459"/>
                    </a:cubicBezTo>
                    <a:lnTo>
                      <a:pt x="25713" y="15459"/>
                    </a:lnTo>
                    <a:cubicBezTo>
                      <a:pt x="25713" y="15459"/>
                      <a:pt x="25713" y="15287"/>
                      <a:pt x="25816" y="15236"/>
                    </a:cubicBezTo>
                    <a:cubicBezTo>
                      <a:pt x="25919" y="15184"/>
                      <a:pt x="25713" y="15029"/>
                      <a:pt x="25816" y="15064"/>
                    </a:cubicBezTo>
                    <a:cubicBezTo>
                      <a:pt x="25919" y="15098"/>
                      <a:pt x="25816" y="15064"/>
                      <a:pt x="25816" y="14961"/>
                    </a:cubicBezTo>
                    <a:cubicBezTo>
                      <a:pt x="25816" y="14858"/>
                      <a:pt x="25816" y="15047"/>
                      <a:pt x="25816" y="15081"/>
                    </a:cubicBezTo>
                    <a:lnTo>
                      <a:pt x="25816" y="15081"/>
                    </a:ln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6" y="15081"/>
                      <a:pt x="25816" y="15081"/>
                      <a:pt x="25816" y="15081"/>
                    </a:cubicBezTo>
                    <a:cubicBezTo>
                      <a:pt x="25812" y="15173"/>
                      <a:pt x="25812" y="15264"/>
                      <a:pt x="25816" y="15356"/>
                    </a:cubicBezTo>
                    <a:cubicBezTo>
                      <a:pt x="25713" y="15356"/>
                      <a:pt x="25816" y="15218"/>
                      <a:pt x="25816" y="15167"/>
                    </a:cubicBezTo>
                    <a:cubicBezTo>
                      <a:pt x="25816" y="15115"/>
                      <a:pt x="25816" y="14858"/>
                      <a:pt x="25919" y="14823"/>
                    </a:cubicBezTo>
                    <a:cubicBezTo>
                      <a:pt x="26023" y="14789"/>
                      <a:pt x="25919" y="14823"/>
                      <a:pt x="25919" y="14823"/>
                    </a:cubicBezTo>
                    <a:cubicBezTo>
                      <a:pt x="25919" y="14823"/>
                      <a:pt x="25799" y="14978"/>
                      <a:pt x="25731" y="14823"/>
                    </a:cubicBezTo>
                    <a:cubicBezTo>
                      <a:pt x="25662" y="14669"/>
                      <a:pt x="25731" y="14823"/>
                      <a:pt x="25731" y="14823"/>
                    </a:cubicBezTo>
                    <a:cubicBezTo>
                      <a:pt x="25731" y="14823"/>
                      <a:pt x="25731" y="14686"/>
                      <a:pt x="25868" y="14737"/>
                    </a:cubicBezTo>
                    <a:cubicBezTo>
                      <a:pt x="26005" y="14789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cubicBezTo>
                      <a:pt x="25868" y="14737"/>
                      <a:pt x="25868" y="14737"/>
                      <a:pt x="25868" y="14737"/>
                    </a:cubicBezTo>
                    <a:lnTo>
                      <a:pt x="25868" y="14737"/>
                    </a:lnTo>
                    <a:lnTo>
                      <a:pt x="25868" y="14652"/>
                    </a:lnTo>
                    <a:cubicBezTo>
                      <a:pt x="25868" y="14652"/>
                      <a:pt x="25868" y="14652"/>
                      <a:pt x="25868" y="14652"/>
                    </a:cubicBezTo>
                    <a:cubicBezTo>
                      <a:pt x="25868" y="14652"/>
                      <a:pt x="25868" y="14566"/>
                      <a:pt x="25868" y="14514"/>
                    </a:cubicBezTo>
                    <a:lnTo>
                      <a:pt x="25868" y="14514"/>
                    </a:lnTo>
                    <a:cubicBezTo>
                      <a:pt x="25868" y="14514"/>
                      <a:pt x="25868" y="14514"/>
                      <a:pt x="25868" y="14514"/>
                    </a:cubicBezTo>
                    <a:cubicBezTo>
                      <a:pt x="25868" y="14514"/>
                      <a:pt x="25868" y="14514"/>
                      <a:pt x="25971" y="14514"/>
                    </a:cubicBezTo>
                    <a:cubicBezTo>
                      <a:pt x="25976" y="14486"/>
                      <a:pt x="25976" y="14457"/>
                      <a:pt x="25971" y="14428"/>
                    </a:cubicBezTo>
                    <a:cubicBezTo>
                      <a:pt x="25971" y="14428"/>
                      <a:pt x="26091" y="14085"/>
                      <a:pt x="26126" y="14291"/>
                    </a:cubicBezTo>
                    <a:cubicBezTo>
                      <a:pt x="26160" y="14497"/>
                      <a:pt x="26126" y="14291"/>
                      <a:pt x="26126" y="14291"/>
                    </a:cubicBezTo>
                    <a:cubicBezTo>
                      <a:pt x="26538" y="14136"/>
                      <a:pt x="26435" y="14291"/>
                      <a:pt x="26126" y="14531"/>
                    </a:cubicBezTo>
                    <a:lnTo>
                      <a:pt x="26126" y="14531"/>
                    </a:lnTo>
                    <a:cubicBezTo>
                      <a:pt x="25902" y="14737"/>
                      <a:pt x="26366" y="14531"/>
                      <a:pt x="26486" y="14531"/>
                    </a:cubicBezTo>
                    <a:cubicBezTo>
                      <a:pt x="26607" y="14531"/>
                      <a:pt x="26486" y="15029"/>
                      <a:pt x="26263" y="14995"/>
                    </a:cubicBezTo>
                    <a:cubicBezTo>
                      <a:pt x="26040" y="14961"/>
                      <a:pt x="26263" y="14995"/>
                      <a:pt x="26263" y="14995"/>
                    </a:cubicBezTo>
                    <a:cubicBezTo>
                      <a:pt x="26263" y="14995"/>
                      <a:pt x="26108" y="15133"/>
                      <a:pt x="26005" y="14995"/>
                    </a:cubicBezTo>
                    <a:cubicBezTo>
                      <a:pt x="26064" y="15057"/>
                      <a:pt x="26162" y="15059"/>
                      <a:pt x="26224" y="15000"/>
                    </a:cubicBezTo>
                    <a:cubicBezTo>
                      <a:pt x="26226" y="14998"/>
                      <a:pt x="26227" y="14997"/>
                      <a:pt x="26229" y="14995"/>
                    </a:cubicBezTo>
                    <a:cubicBezTo>
                      <a:pt x="26486" y="15098"/>
                      <a:pt x="26503" y="15373"/>
                      <a:pt x="26589" y="15579"/>
                    </a:cubicBezTo>
                    <a:cubicBezTo>
                      <a:pt x="26675" y="15785"/>
                      <a:pt x="26830" y="15545"/>
                      <a:pt x="26967" y="15613"/>
                    </a:cubicBezTo>
                    <a:close/>
                    <a:moveTo>
                      <a:pt x="18138" y="47476"/>
                    </a:move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138" y="47476"/>
                    </a:lnTo>
                    <a:lnTo>
                      <a:pt x="18224" y="47476"/>
                    </a:lnTo>
                    <a:lnTo>
                      <a:pt x="18224" y="47476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7984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8070" y="47338"/>
                    </a:lnTo>
                    <a:lnTo>
                      <a:pt x="17795" y="47218"/>
                    </a:lnTo>
                    <a:lnTo>
                      <a:pt x="17795" y="47218"/>
                    </a:lnTo>
                    <a:cubicBezTo>
                      <a:pt x="17795" y="47218"/>
                      <a:pt x="17795" y="47218"/>
                      <a:pt x="17795" y="47218"/>
                    </a:cubicBezTo>
                    <a:cubicBezTo>
                      <a:pt x="17762" y="47203"/>
                      <a:pt x="17725" y="47203"/>
                      <a:pt x="17692" y="47218"/>
                    </a:cubicBez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692" y="47218"/>
                    </a:lnTo>
                    <a:lnTo>
                      <a:pt x="17864" y="47218"/>
                    </a:lnTo>
                    <a:lnTo>
                      <a:pt x="17658" y="47218"/>
                    </a:lnTo>
                    <a:lnTo>
                      <a:pt x="17658" y="47218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417" y="47115"/>
                    </a:lnTo>
                    <a:lnTo>
                      <a:pt x="17280" y="47115"/>
                    </a:lnTo>
                    <a:lnTo>
                      <a:pt x="17469" y="47218"/>
                    </a:lnTo>
                    <a:lnTo>
                      <a:pt x="17194" y="47081"/>
                    </a:lnTo>
                    <a:lnTo>
                      <a:pt x="17194" y="47081"/>
                    </a:lnTo>
                    <a:lnTo>
                      <a:pt x="17366" y="47081"/>
                    </a:lnTo>
                    <a:lnTo>
                      <a:pt x="17228" y="47081"/>
                    </a:lnTo>
                    <a:lnTo>
                      <a:pt x="17366" y="47081"/>
                    </a:lnTo>
                    <a:lnTo>
                      <a:pt x="17108" y="46961"/>
                    </a:lnTo>
                    <a:lnTo>
                      <a:pt x="17108" y="46961"/>
                    </a:lnTo>
                    <a:lnTo>
                      <a:pt x="17005" y="46961"/>
                    </a:lnTo>
                    <a:lnTo>
                      <a:pt x="17005" y="46961"/>
                    </a:lnTo>
                    <a:lnTo>
                      <a:pt x="16782" y="46858"/>
                    </a:lnTo>
                    <a:lnTo>
                      <a:pt x="16782" y="46858"/>
                    </a:lnTo>
                    <a:lnTo>
                      <a:pt x="16696" y="46858"/>
                    </a:lnTo>
                    <a:lnTo>
                      <a:pt x="16696" y="46858"/>
                    </a:lnTo>
                    <a:cubicBezTo>
                      <a:pt x="16557" y="46803"/>
                      <a:pt x="16425" y="46733"/>
                      <a:pt x="16301" y="46651"/>
                    </a:cubicBezTo>
                    <a:lnTo>
                      <a:pt x="16301" y="46651"/>
                    </a:lnTo>
                    <a:lnTo>
                      <a:pt x="16129" y="46548"/>
                    </a:lnTo>
                    <a:lnTo>
                      <a:pt x="16283" y="46651"/>
                    </a:lnTo>
                    <a:lnTo>
                      <a:pt x="15940" y="46462"/>
                    </a:lnTo>
                    <a:lnTo>
                      <a:pt x="15940" y="46462"/>
                    </a:lnTo>
                    <a:lnTo>
                      <a:pt x="15837" y="46462"/>
                    </a:lnTo>
                    <a:lnTo>
                      <a:pt x="15837" y="46462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665" y="46359"/>
                    </a:lnTo>
                    <a:lnTo>
                      <a:pt x="15510" y="46274"/>
                    </a:lnTo>
                    <a:lnTo>
                      <a:pt x="15510" y="46274"/>
                    </a:lnTo>
                    <a:lnTo>
                      <a:pt x="15339" y="46153"/>
                    </a:lnTo>
                    <a:lnTo>
                      <a:pt x="15339" y="46153"/>
                    </a:lnTo>
                    <a:lnTo>
                      <a:pt x="15201" y="46153"/>
                    </a:lnTo>
                    <a:lnTo>
                      <a:pt x="15201" y="46153"/>
                    </a:lnTo>
                    <a:cubicBezTo>
                      <a:pt x="15162" y="46164"/>
                      <a:pt x="15120" y="46164"/>
                      <a:pt x="15081" y="46153"/>
                    </a:cubicBezTo>
                    <a:lnTo>
                      <a:pt x="15081" y="46153"/>
                    </a:lnTo>
                    <a:lnTo>
                      <a:pt x="15218" y="46239"/>
                    </a:lnTo>
                    <a:lnTo>
                      <a:pt x="15081" y="46153"/>
                    </a:lnTo>
                    <a:lnTo>
                      <a:pt x="15081" y="46153"/>
                    </a:lnTo>
                    <a:lnTo>
                      <a:pt x="14961" y="46153"/>
                    </a:lnTo>
                    <a:lnTo>
                      <a:pt x="14961" y="46153"/>
                    </a:lnTo>
                    <a:lnTo>
                      <a:pt x="14823" y="46067"/>
                    </a:lnTo>
                    <a:cubicBezTo>
                      <a:pt x="14890" y="46095"/>
                      <a:pt x="14953" y="46130"/>
                      <a:pt x="15012" y="46170"/>
                    </a:cubicBezTo>
                    <a:cubicBezTo>
                      <a:pt x="15012" y="46170"/>
                      <a:pt x="15150" y="46274"/>
                      <a:pt x="15184" y="46274"/>
                    </a:cubicBezTo>
                    <a:lnTo>
                      <a:pt x="14720" y="45947"/>
                    </a:lnTo>
                    <a:lnTo>
                      <a:pt x="14720" y="45947"/>
                    </a:lnTo>
                    <a:cubicBezTo>
                      <a:pt x="14446" y="45724"/>
                      <a:pt x="14136" y="45535"/>
                      <a:pt x="13879" y="45312"/>
                    </a:cubicBezTo>
                    <a:lnTo>
                      <a:pt x="13982" y="45312"/>
                    </a:lnTo>
                    <a:lnTo>
                      <a:pt x="13827" y="45191"/>
                    </a:lnTo>
                    <a:lnTo>
                      <a:pt x="13827" y="45191"/>
                    </a:lnTo>
                    <a:cubicBezTo>
                      <a:pt x="13827" y="45191"/>
                      <a:pt x="13827" y="45191"/>
                      <a:pt x="13724" y="45191"/>
                    </a:cubicBezTo>
                    <a:lnTo>
                      <a:pt x="13724" y="45191"/>
                    </a:lnTo>
                    <a:lnTo>
                      <a:pt x="13724" y="45191"/>
                    </a:lnTo>
                    <a:lnTo>
                      <a:pt x="13724" y="45191"/>
                    </a:lnTo>
                    <a:cubicBezTo>
                      <a:pt x="13500" y="45056"/>
                      <a:pt x="13292" y="44895"/>
                      <a:pt x="13106" y="44710"/>
                    </a:cubicBezTo>
                    <a:lnTo>
                      <a:pt x="13106" y="44710"/>
                    </a:lnTo>
                    <a:cubicBezTo>
                      <a:pt x="12865" y="44453"/>
                      <a:pt x="12573" y="44264"/>
                      <a:pt x="12316" y="44023"/>
                    </a:cubicBezTo>
                    <a:cubicBezTo>
                      <a:pt x="12316" y="44023"/>
                      <a:pt x="12316" y="44023"/>
                      <a:pt x="12316" y="44023"/>
                    </a:cubicBezTo>
                    <a:cubicBezTo>
                      <a:pt x="11271" y="42931"/>
                      <a:pt x="10350" y="41727"/>
                      <a:pt x="9567" y="40434"/>
                    </a:cubicBezTo>
                    <a:lnTo>
                      <a:pt x="9567" y="40434"/>
                    </a:lnTo>
                    <a:cubicBezTo>
                      <a:pt x="9215" y="39466"/>
                      <a:pt x="8691" y="38570"/>
                      <a:pt x="8021" y="37788"/>
                    </a:cubicBezTo>
                    <a:lnTo>
                      <a:pt x="8021" y="37788"/>
                    </a:lnTo>
                    <a:cubicBezTo>
                      <a:pt x="6949" y="36560"/>
                      <a:pt x="6200" y="35084"/>
                      <a:pt x="5840" y="33494"/>
                    </a:cubicBezTo>
                    <a:cubicBezTo>
                      <a:pt x="5840" y="33494"/>
                      <a:pt x="5840" y="33494"/>
                      <a:pt x="5840" y="33580"/>
                    </a:cubicBezTo>
                    <a:cubicBezTo>
                      <a:pt x="5850" y="33546"/>
                      <a:pt x="5850" y="33511"/>
                      <a:pt x="5840" y="33477"/>
                    </a:cubicBezTo>
                    <a:cubicBezTo>
                      <a:pt x="5840" y="33477"/>
                      <a:pt x="5840" y="33580"/>
                      <a:pt x="5840" y="33614"/>
                    </a:cubicBezTo>
                    <a:cubicBezTo>
                      <a:pt x="5600" y="33202"/>
                      <a:pt x="5685" y="28461"/>
                      <a:pt x="5222" y="30299"/>
                    </a:cubicBezTo>
                    <a:cubicBezTo>
                      <a:pt x="5222" y="30299"/>
                      <a:pt x="5222" y="30093"/>
                      <a:pt x="5222" y="30042"/>
                    </a:cubicBezTo>
                    <a:cubicBezTo>
                      <a:pt x="5222" y="29990"/>
                      <a:pt x="5222" y="30042"/>
                      <a:pt x="5222" y="30128"/>
                    </a:cubicBezTo>
                    <a:cubicBezTo>
                      <a:pt x="5222" y="30213"/>
                      <a:pt x="5222" y="29887"/>
                      <a:pt x="5067" y="29784"/>
                    </a:cubicBezTo>
                    <a:cubicBezTo>
                      <a:pt x="4913" y="29681"/>
                      <a:pt x="5067" y="29784"/>
                      <a:pt x="5067" y="29784"/>
                    </a:cubicBezTo>
                    <a:lnTo>
                      <a:pt x="5067" y="29784"/>
                    </a:lnTo>
                    <a:cubicBezTo>
                      <a:pt x="5067" y="29784"/>
                      <a:pt x="5067" y="29612"/>
                      <a:pt x="5067" y="29544"/>
                    </a:cubicBezTo>
                    <a:cubicBezTo>
                      <a:pt x="5067" y="29475"/>
                      <a:pt x="5067" y="29664"/>
                      <a:pt x="5067" y="29715"/>
                    </a:cubicBezTo>
                    <a:cubicBezTo>
                      <a:pt x="5067" y="29458"/>
                      <a:pt x="4947" y="29166"/>
                      <a:pt x="4844" y="28908"/>
                    </a:cubicBezTo>
                    <a:cubicBezTo>
                      <a:pt x="4844" y="28994"/>
                      <a:pt x="4844" y="29080"/>
                      <a:pt x="4844" y="29183"/>
                    </a:cubicBezTo>
                    <a:cubicBezTo>
                      <a:pt x="4689" y="28753"/>
                      <a:pt x="4672" y="28290"/>
                      <a:pt x="4552" y="27843"/>
                    </a:cubicBezTo>
                    <a:cubicBezTo>
                      <a:pt x="4552" y="27929"/>
                      <a:pt x="4552" y="27843"/>
                      <a:pt x="4552" y="27740"/>
                    </a:cubicBezTo>
                    <a:cubicBezTo>
                      <a:pt x="4552" y="27637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552" y="27740"/>
                      <a:pt x="4552" y="27740"/>
                      <a:pt x="4552" y="27740"/>
                    </a:cubicBezTo>
                    <a:cubicBezTo>
                      <a:pt x="4343" y="27287"/>
                      <a:pt x="4226" y="26796"/>
                      <a:pt x="4208" y="26297"/>
                    </a:cubicBezTo>
                    <a:cubicBezTo>
                      <a:pt x="4218" y="26366"/>
                      <a:pt x="4218" y="26435"/>
                      <a:pt x="4208" y="26503"/>
                    </a:cubicBezTo>
                    <a:cubicBezTo>
                      <a:pt x="4218" y="26435"/>
                      <a:pt x="4218" y="26366"/>
                      <a:pt x="4208" y="26297"/>
                    </a:cubicBez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297"/>
                    </a:cubicBezTo>
                    <a:lnTo>
                      <a:pt x="4208" y="26297"/>
                    </a:lnTo>
                    <a:lnTo>
                      <a:pt x="4208" y="26297"/>
                    </a:lnTo>
                    <a:cubicBezTo>
                      <a:pt x="4208" y="26297"/>
                      <a:pt x="4208" y="26297"/>
                      <a:pt x="4208" y="26400"/>
                    </a:cubicBezTo>
                    <a:cubicBezTo>
                      <a:pt x="4208" y="26503"/>
                      <a:pt x="4208" y="26400"/>
                      <a:pt x="4208" y="26400"/>
                    </a:cubicBezTo>
                    <a:lnTo>
                      <a:pt x="4208" y="26400"/>
                    </a:lnTo>
                    <a:lnTo>
                      <a:pt x="4208" y="26400"/>
                    </a:lnTo>
                    <a:cubicBezTo>
                      <a:pt x="4208" y="26314"/>
                      <a:pt x="4208" y="26194"/>
                      <a:pt x="4208" y="26091"/>
                    </a:cubicBezTo>
                    <a:lnTo>
                      <a:pt x="4208" y="26091"/>
                    </a:lnTo>
                    <a:cubicBezTo>
                      <a:pt x="4200" y="26034"/>
                      <a:pt x="4200" y="25976"/>
                      <a:pt x="4208" y="25919"/>
                    </a:cubicBezTo>
                    <a:lnTo>
                      <a:pt x="4208" y="25919"/>
                    </a:lnTo>
                    <a:cubicBezTo>
                      <a:pt x="4191" y="25679"/>
                      <a:pt x="4191" y="25438"/>
                      <a:pt x="4208" y="25198"/>
                    </a:cubicBezTo>
                    <a:lnTo>
                      <a:pt x="4208" y="25198"/>
                    </a:lnTo>
                    <a:cubicBezTo>
                      <a:pt x="4208" y="25198"/>
                      <a:pt x="4208" y="25112"/>
                      <a:pt x="4208" y="25078"/>
                    </a:cubicBezTo>
                    <a:lnTo>
                      <a:pt x="4208" y="25078"/>
                    </a:lnTo>
                    <a:cubicBezTo>
                      <a:pt x="4764" y="15747"/>
                      <a:pt x="10928" y="7687"/>
                      <a:pt x="19787" y="4706"/>
                    </a:cubicBezTo>
                    <a:lnTo>
                      <a:pt x="19787" y="4706"/>
                    </a:lnTo>
                    <a:lnTo>
                      <a:pt x="19994" y="4706"/>
                    </a:lnTo>
                    <a:lnTo>
                      <a:pt x="19994" y="4706"/>
                    </a:lnTo>
                    <a:lnTo>
                      <a:pt x="20217" y="4706"/>
                    </a:lnTo>
                    <a:lnTo>
                      <a:pt x="20062" y="4706"/>
                    </a:lnTo>
                    <a:lnTo>
                      <a:pt x="20337" y="4706"/>
                    </a:lnTo>
                    <a:lnTo>
                      <a:pt x="20234" y="4706"/>
                    </a:lnTo>
                    <a:lnTo>
                      <a:pt x="20234" y="4706"/>
                    </a:lnTo>
                    <a:lnTo>
                      <a:pt x="20423" y="4706"/>
                    </a:lnTo>
                    <a:lnTo>
                      <a:pt x="20423" y="4706"/>
                    </a:lnTo>
                    <a:lnTo>
                      <a:pt x="21711" y="4414"/>
                    </a:lnTo>
                    <a:lnTo>
                      <a:pt x="21711" y="4414"/>
                    </a:lnTo>
                    <a:lnTo>
                      <a:pt x="22038" y="4414"/>
                    </a:lnTo>
                    <a:lnTo>
                      <a:pt x="21814" y="4414"/>
                    </a:lnTo>
                    <a:lnTo>
                      <a:pt x="21814" y="4414"/>
                    </a:lnTo>
                    <a:lnTo>
                      <a:pt x="22415" y="4414"/>
                    </a:lnTo>
                    <a:lnTo>
                      <a:pt x="22415" y="4414"/>
                    </a:lnTo>
                    <a:lnTo>
                      <a:pt x="22106" y="4414"/>
                    </a:lnTo>
                    <a:lnTo>
                      <a:pt x="22398" y="4414"/>
                    </a:lnTo>
                    <a:lnTo>
                      <a:pt x="22398" y="4414"/>
                    </a:lnTo>
                    <a:lnTo>
                      <a:pt x="22690" y="4414"/>
                    </a:lnTo>
                    <a:lnTo>
                      <a:pt x="22587" y="4414"/>
                    </a:lnTo>
                    <a:lnTo>
                      <a:pt x="22484" y="4414"/>
                    </a:lnTo>
                    <a:lnTo>
                      <a:pt x="22725" y="4414"/>
                    </a:lnTo>
                    <a:lnTo>
                      <a:pt x="22347" y="4414"/>
                    </a:lnTo>
                    <a:lnTo>
                      <a:pt x="22244" y="4414"/>
                    </a:lnTo>
                    <a:lnTo>
                      <a:pt x="22055" y="4414"/>
                    </a:lnTo>
                    <a:lnTo>
                      <a:pt x="22415" y="4414"/>
                    </a:lnTo>
                    <a:lnTo>
                      <a:pt x="22020" y="4414"/>
                    </a:lnTo>
                    <a:lnTo>
                      <a:pt x="22020" y="4414"/>
                    </a:lnTo>
                    <a:lnTo>
                      <a:pt x="21608" y="4414"/>
                    </a:lnTo>
                    <a:lnTo>
                      <a:pt x="21608" y="4414"/>
                    </a:lnTo>
                    <a:lnTo>
                      <a:pt x="21213" y="4500"/>
                    </a:lnTo>
                    <a:lnTo>
                      <a:pt x="21385" y="4500"/>
                    </a:lnTo>
                    <a:lnTo>
                      <a:pt x="21385" y="4500"/>
                    </a:lnTo>
                    <a:cubicBezTo>
                      <a:pt x="21251" y="4544"/>
                      <a:pt x="21113" y="4572"/>
                      <a:pt x="20973" y="4586"/>
                    </a:cubicBezTo>
                    <a:lnTo>
                      <a:pt x="21144" y="4586"/>
                    </a:lnTo>
                    <a:lnTo>
                      <a:pt x="20955" y="4586"/>
                    </a:lnTo>
                    <a:lnTo>
                      <a:pt x="2095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lnTo>
                      <a:pt x="20835" y="4586"/>
                    </a:lnTo>
                    <a:cubicBezTo>
                      <a:pt x="20835" y="4586"/>
                      <a:pt x="20835" y="4586"/>
                      <a:pt x="20835" y="4586"/>
                    </a:cubicBezTo>
                    <a:lnTo>
                      <a:pt x="20835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663" y="4586"/>
                    </a:lnTo>
                    <a:lnTo>
                      <a:pt x="20560" y="4586"/>
                    </a:lnTo>
                    <a:lnTo>
                      <a:pt x="20560" y="4586"/>
                    </a:lnTo>
                    <a:lnTo>
                      <a:pt x="20114" y="4706"/>
                    </a:lnTo>
                    <a:lnTo>
                      <a:pt x="20114" y="4706"/>
                    </a:lnTo>
                    <a:lnTo>
                      <a:pt x="19787" y="4827"/>
                    </a:lnTo>
                    <a:lnTo>
                      <a:pt x="19787" y="4827"/>
                    </a:lnTo>
                    <a:lnTo>
                      <a:pt x="19392" y="4947"/>
                    </a:lnTo>
                    <a:lnTo>
                      <a:pt x="19392" y="4947"/>
                    </a:lnTo>
                    <a:lnTo>
                      <a:pt x="19100" y="5153"/>
                    </a:lnTo>
                    <a:lnTo>
                      <a:pt x="19100" y="5153"/>
                    </a:lnTo>
                    <a:lnTo>
                      <a:pt x="18997" y="5153"/>
                    </a:lnTo>
                    <a:lnTo>
                      <a:pt x="18997" y="5153"/>
                    </a:lnTo>
                    <a:lnTo>
                      <a:pt x="18430" y="5359"/>
                    </a:lnTo>
                    <a:lnTo>
                      <a:pt x="18568" y="5359"/>
                    </a:lnTo>
                    <a:lnTo>
                      <a:pt x="18568" y="5359"/>
                    </a:lnTo>
                    <a:cubicBezTo>
                      <a:pt x="18763" y="5286"/>
                      <a:pt x="18964" y="5229"/>
                      <a:pt x="19169" y="5187"/>
                    </a:cubicBezTo>
                    <a:lnTo>
                      <a:pt x="19169" y="5187"/>
                    </a:lnTo>
                    <a:lnTo>
                      <a:pt x="19341" y="5187"/>
                    </a:lnTo>
                    <a:lnTo>
                      <a:pt x="19461" y="5187"/>
                    </a:lnTo>
                    <a:lnTo>
                      <a:pt x="19186" y="5187"/>
                    </a:lnTo>
                    <a:lnTo>
                      <a:pt x="19186" y="5187"/>
                    </a:lnTo>
                    <a:lnTo>
                      <a:pt x="19032" y="5187"/>
                    </a:lnTo>
                    <a:lnTo>
                      <a:pt x="19032" y="5187"/>
                    </a:lnTo>
                    <a:lnTo>
                      <a:pt x="18911" y="5187"/>
                    </a:lnTo>
                    <a:lnTo>
                      <a:pt x="18911" y="5187"/>
                    </a:lnTo>
                    <a:lnTo>
                      <a:pt x="18740" y="5187"/>
                    </a:lnTo>
                    <a:lnTo>
                      <a:pt x="18740" y="5187"/>
                    </a:lnTo>
                    <a:lnTo>
                      <a:pt x="18894" y="5187"/>
                    </a:lnTo>
                    <a:lnTo>
                      <a:pt x="18894" y="5187"/>
                    </a:lnTo>
                    <a:lnTo>
                      <a:pt x="19049" y="5187"/>
                    </a:lnTo>
                    <a:lnTo>
                      <a:pt x="19049" y="5187"/>
                    </a:lnTo>
                    <a:lnTo>
                      <a:pt x="18860" y="5187"/>
                    </a:lnTo>
                    <a:cubicBezTo>
                      <a:pt x="18997" y="5187"/>
                      <a:pt x="19392" y="5067"/>
                      <a:pt x="19032" y="5187"/>
                    </a:cubicBezTo>
                    <a:lnTo>
                      <a:pt x="19186" y="5187"/>
                    </a:lnTo>
                    <a:lnTo>
                      <a:pt x="19289" y="5187"/>
                    </a:lnTo>
                    <a:lnTo>
                      <a:pt x="19650" y="5084"/>
                    </a:lnTo>
                    <a:cubicBezTo>
                      <a:pt x="19252" y="5196"/>
                      <a:pt x="18862" y="5334"/>
                      <a:pt x="18482" y="5497"/>
                    </a:cubicBezTo>
                    <a:lnTo>
                      <a:pt x="18654" y="5497"/>
                    </a:lnTo>
                    <a:lnTo>
                      <a:pt x="18654" y="5497"/>
                    </a:lnTo>
                    <a:cubicBezTo>
                      <a:pt x="18654" y="5497"/>
                      <a:pt x="18860" y="5497"/>
                      <a:pt x="18740" y="5497"/>
                    </a:cubicBezTo>
                    <a:lnTo>
                      <a:pt x="18894" y="5497"/>
                    </a:lnTo>
                    <a:lnTo>
                      <a:pt x="18894" y="5497"/>
                    </a:lnTo>
                    <a:lnTo>
                      <a:pt x="19032" y="5497"/>
                    </a:lnTo>
                    <a:cubicBezTo>
                      <a:pt x="18929" y="5497"/>
                      <a:pt x="18808" y="5497"/>
                      <a:pt x="18722" y="5617"/>
                    </a:cubicBezTo>
                    <a:lnTo>
                      <a:pt x="18722" y="5617"/>
                    </a:lnTo>
                    <a:lnTo>
                      <a:pt x="18585" y="5617"/>
                    </a:lnTo>
                    <a:lnTo>
                      <a:pt x="18585" y="5617"/>
                    </a:lnTo>
                    <a:lnTo>
                      <a:pt x="18413" y="5617"/>
                    </a:lnTo>
                    <a:cubicBezTo>
                      <a:pt x="18505" y="5624"/>
                      <a:pt x="18597" y="5624"/>
                      <a:pt x="18688" y="5617"/>
                    </a:cubicBezTo>
                    <a:cubicBezTo>
                      <a:pt x="18396" y="5771"/>
                      <a:pt x="18035" y="5909"/>
                      <a:pt x="17743" y="6098"/>
                    </a:cubicBezTo>
                    <a:lnTo>
                      <a:pt x="17743" y="6098"/>
                    </a:lnTo>
                    <a:lnTo>
                      <a:pt x="17554" y="6201"/>
                    </a:lnTo>
                    <a:lnTo>
                      <a:pt x="17743" y="6201"/>
                    </a:lnTo>
                    <a:lnTo>
                      <a:pt x="17743" y="6201"/>
                    </a:lnTo>
                    <a:cubicBezTo>
                      <a:pt x="17743" y="6201"/>
                      <a:pt x="17743" y="6201"/>
                      <a:pt x="17743" y="6201"/>
                    </a:cubicBezTo>
                    <a:cubicBezTo>
                      <a:pt x="17557" y="6309"/>
                      <a:pt x="17362" y="6402"/>
                      <a:pt x="17159" y="6476"/>
                    </a:cubicBezTo>
                    <a:cubicBezTo>
                      <a:pt x="17159" y="6476"/>
                      <a:pt x="17159" y="6476"/>
                      <a:pt x="17159" y="6476"/>
                    </a:cubicBezTo>
                    <a:cubicBezTo>
                      <a:pt x="17159" y="6476"/>
                      <a:pt x="17056" y="6476"/>
                      <a:pt x="17039" y="6476"/>
                    </a:cubicBezTo>
                    <a:lnTo>
                      <a:pt x="17039" y="6476"/>
                    </a:lnTo>
                    <a:cubicBezTo>
                      <a:pt x="16976" y="6499"/>
                      <a:pt x="16918" y="6534"/>
                      <a:pt x="16867" y="6579"/>
                    </a:cubicBezTo>
                    <a:lnTo>
                      <a:pt x="16867" y="6579"/>
                    </a:lnTo>
                    <a:cubicBezTo>
                      <a:pt x="16867" y="6579"/>
                      <a:pt x="16627" y="6750"/>
                      <a:pt x="16730" y="6716"/>
                    </a:cubicBezTo>
                    <a:lnTo>
                      <a:pt x="16730" y="6716"/>
                    </a:lnTo>
                    <a:lnTo>
                      <a:pt x="16730" y="6716"/>
                    </a:lnTo>
                    <a:lnTo>
                      <a:pt x="16730" y="6716"/>
                    </a:lnTo>
                    <a:cubicBezTo>
                      <a:pt x="16730" y="6716"/>
                      <a:pt x="16730" y="6716"/>
                      <a:pt x="16730" y="6716"/>
                    </a:cubicBezTo>
                    <a:lnTo>
                      <a:pt x="16885" y="6716"/>
                    </a:lnTo>
                    <a:lnTo>
                      <a:pt x="16627" y="6853"/>
                    </a:lnTo>
                    <a:lnTo>
                      <a:pt x="16627" y="6853"/>
                    </a:lnTo>
                    <a:cubicBezTo>
                      <a:pt x="16627" y="6853"/>
                      <a:pt x="16455" y="6853"/>
                      <a:pt x="16386" y="6991"/>
                    </a:cubicBezTo>
                    <a:cubicBezTo>
                      <a:pt x="16318" y="7128"/>
                      <a:pt x="16507" y="6991"/>
                      <a:pt x="16558" y="6991"/>
                    </a:cubicBezTo>
                    <a:cubicBezTo>
                      <a:pt x="16389" y="7066"/>
                      <a:pt x="16228" y="7158"/>
                      <a:pt x="16077" y="7266"/>
                    </a:cubicBezTo>
                    <a:lnTo>
                      <a:pt x="16077" y="7266"/>
                    </a:lnTo>
                    <a:lnTo>
                      <a:pt x="16077" y="7266"/>
                    </a:lnTo>
                    <a:cubicBezTo>
                      <a:pt x="16317" y="7116"/>
                      <a:pt x="16570" y="6989"/>
                      <a:pt x="16833" y="6888"/>
                    </a:cubicBezTo>
                    <a:lnTo>
                      <a:pt x="16833" y="6888"/>
                    </a:lnTo>
                    <a:cubicBezTo>
                      <a:pt x="16833" y="6888"/>
                      <a:pt x="16833" y="6888"/>
                      <a:pt x="16833" y="6888"/>
                    </a:cubicBezTo>
                    <a:lnTo>
                      <a:pt x="16833" y="6888"/>
                    </a:lnTo>
                    <a:lnTo>
                      <a:pt x="16936" y="6888"/>
                    </a:lnTo>
                    <a:lnTo>
                      <a:pt x="16833" y="6888"/>
                    </a:lnTo>
                    <a:cubicBezTo>
                      <a:pt x="16833" y="6888"/>
                      <a:pt x="16988" y="6785"/>
                      <a:pt x="17056" y="6785"/>
                    </a:cubicBezTo>
                    <a:lnTo>
                      <a:pt x="17056" y="6785"/>
                    </a:lnTo>
                    <a:cubicBezTo>
                      <a:pt x="17056" y="6785"/>
                      <a:pt x="17314" y="6682"/>
                      <a:pt x="17159" y="6785"/>
                    </a:cubicBezTo>
                    <a:lnTo>
                      <a:pt x="17039" y="6785"/>
                    </a:lnTo>
                    <a:cubicBezTo>
                      <a:pt x="17073" y="6775"/>
                      <a:pt x="17109" y="6775"/>
                      <a:pt x="17142" y="6785"/>
                    </a:cubicBezTo>
                    <a:lnTo>
                      <a:pt x="17022" y="6785"/>
                    </a:lnTo>
                    <a:lnTo>
                      <a:pt x="17022" y="6785"/>
                    </a:lnTo>
                    <a:cubicBezTo>
                      <a:pt x="17022" y="6785"/>
                      <a:pt x="17022" y="6785"/>
                      <a:pt x="16885" y="6785"/>
                    </a:cubicBezTo>
                    <a:cubicBezTo>
                      <a:pt x="16747" y="6785"/>
                      <a:pt x="17074" y="6785"/>
                      <a:pt x="17005" y="6785"/>
                    </a:cubicBezTo>
                    <a:cubicBezTo>
                      <a:pt x="17104" y="6745"/>
                      <a:pt x="17215" y="6745"/>
                      <a:pt x="17314" y="6785"/>
                    </a:cubicBezTo>
                    <a:lnTo>
                      <a:pt x="17314" y="6785"/>
                    </a:lnTo>
                    <a:cubicBezTo>
                      <a:pt x="17125" y="6922"/>
                      <a:pt x="16902" y="702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696" y="7145"/>
                    </a:lnTo>
                    <a:cubicBezTo>
                      <a:pt x="16696" y="7145"/>
                      <a:pt x="16696" y="7145"/>
                      <a:pt x="16696" y="7145"/>
                    </a:cubicBezTo>
                    <a:lnTo>
                      <a:pt x="16696" y="7145"/>
                    </a:lnTo>
                    <a:lnTo>
                      <a:pt x="16696" y="7145"/>
                    </a:lnTo>
                    <a:lnTo>
                      <a:pt x="16455" y="7300"/>
                    </a:lnTo>
                    <a:lnTo>
                      <a:pt x="16455" y="7300"/>
                    </a:lnTo>
                    <a:cubicBezTo>
                      <a:pt x="16455" y="7300"/>
                      <a:pt x="16455" y="7300"/>
                      <a:pt x="16455" y="7386"/>
                    </a:cubicBezTo>
                    <a:lnTo>
                      <a:pt x="16610" y="7386"/>
                    </a:lnTo>
                    <a:lnTo>
                      <a:pt x="16610" y="7386"/>
                    </a:lnTo>
                    <a:lnTo>
                      <a:pt x="16610" y="7489"/>
                    </a:lnTo>
                    <a:cubicBezTo>
                      <a:pt x="16610" y="7489"/>
                      <a:pt x="16610" y="7489"/>
                      <a:pt x="16610" y="7489"/>
                    </a:cubicBezTo>
                    <a:lnTo>
                      <a:pt x="16610" y="7489"/>
                    </a:lnTo>
                    <a:cubicBezTo>
                      <a:pt x="16953" y="7266"/>
                      <a:pt x="16713" y="7489"/>
                      <a:pt x="16610" y="7592"/>
                    </a:cubicBezTo>
                    <a:cubicBezTo>
                      <a:pt x="16730" y="7592"/>
                      <a:pt x="16833" y="7386"/>
                      <a:pt x="16970" y="7334"/>
                    </a:cubicBezTo>
                    <a:lnTo>
                      <a:pt x="16970" y="7334"/>
                    </a:lnTo>
                    <a:cubicBezTo>
                      <a:pt x="16970" y="7334"/>
                      <a:pt x="17280" y="7145"/>
                      <a:pt x="17108" y="7334"/>
                    </a:cubicBezTo>
                    <a:lnTo>
                      <a:pt x="17245" y="7334"/>
                    </a:lnTo>
                    <a:lnTo>
                      <a:pt x="17142" y="7334"/>
                    </a:lnTo>
                    <a:cubicBezTo>
                      <a:pt x="17142" y="7334"/>
                      <a:pt x="17142" y="7334"/>
                      <a:pt x="17142" y="7334"/>
                    </a:cubicBezTo>
                    <a:cubicBezTo>
                      <a:pt x="17142" y="7334"/>
                      <a:pt x="17022" y="7334"/>
                      <a:pt x="16988" y="7437"/>
                    </a:cubicBezTo>
                    <a:lnTo>
                      <a:pt x="16988" y="7437"/>
                    </a:lnTo>
                    <a:cubicBezTo>
                      <a:pt x="16988" y="7437"/>
                      <a:pt x="16885" y="7437"/>
                      <a:pt x="16867" y="7437"/>
                    </a:cubicBezTo>
                    <a:cubicBezTo>
                      <a:pt x="17211" y="7317"/>
                      <a:pt x="16747" y="7437"/>
                      <a:pt x="16610" y="7575"/>
                    </a:cubicBezTo>
                    <a:lnTo>
                      <a:pt x="16610" y="7575"/>
                    </a:lnTo>
                    <a:lnTo>
                      <a:pt x="16421" y="7678"/>
                    </a:lnTo>
                    <a:lnTo>
                      <a:pt x="16421" y="7678"/>
                    </a:lnTo>
                    <a:lnTo>
                      <a:pt x="16283" y="7678"/>
                    </a:lnTo>
                    <a:cubicBezTo>
                      <a:pt x="16438" y="7678"/>
                      <a:pt x="16283" y="7678"/>
                      <a:pt x="16283" y="7678"/>
                    </a:cubicBezTo>
                    <a:lnTo>
                      <a:pt x="16283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lnTo>
                      <a:pt x="16129" y="7678"/>
                    </a:lnTo>
                    <a:cubicBezTo>
                      <a:pt x="16026" y="7678"/>
                      <a:pt x="15923" y="7833"/>
                      <a:pt x="15820" y="7867"/>
                    </a:cubicBezTo>
                    <a:cubicBezTo>
                      <a:pt x="15717" y="7901"/>
                      <a:pt x="15974" y="7764"/>
                      <a:pt x="16043" y="7747"/>
                    </a:cubicBezTo>
                    <a:cubicBezTo>
                      <a:pt x="16112" y="7729"/>
                      <a:pt x="16043" y="7747"/>
                      <a:pt x="16043" y="7747"/>
                    </a:cubicBezTo>
                    <a:cubicBezTo>
                      <a:pt x="16131" y="7705"/>
                      <a:pt x="16223" y="7670"/>
                      <a:pt x="16318" y="7644"/>
                    </a:cubicBezTo>
                    <a:lnTo>
                      <a:pt x="16198" y="7644"/>
                    </a:lnTo>
                    <a:cubicBezTo>
                      <a:pt x="16386" y="7558"/>
                      <a:pt x="16558" y="7420"/>
                      <a:pt x="16747" y="7352"/>
                    </a:cubicBezTo>
                    <a:lnTo>
                      <a:pt x="16747" y="7352"/>
                    </a:lnTo>
                    <a:lnTo>
                      <a:pt x="16747" y="7352"/>
                    </a:lnTo>
                    <a:cubicBezTo>
                      <a:pt x="16976" y="7288"/>
                      <a:pt x="17195" y="7196"/>
                      <a:pt x="17400" y="7077"/>
                    </a:cubicBezTo>
                    <a:cubicBezTo>
                      <a:pt x="17400" y="7077"/>
                      <a:pt x="17400" y="7077"/>
                      <a:pt x="17262" y="7077"/>
                    </a:cubicBezTo>
                    <a:lnTo>
                      <a:pt x="17262" y="7077"/>
                    </a:lnTo>
                    <a:cubicBezTo>
                      <a:pt x="17366" y="7077"/>
                      <a:pt x="17761" y="6836"/>
                      <a:pt x="17520" y="6991"/>
                    </a:cubicBezTo>
                    <a:cubicBezTo>
                      <a:pt x="17692" y="6991"/>
                      <a:pt x="17692" y="6819"/>
                      <a:pt x="17846" y="6768"/>
                    </a:cubicBezTo>
                    <a:cubicBezTo>
                      <a:pt x="17692" y="6768"/>
                      <a:pt x="17846" y="6768"/>
                      <a:pt x="17846" y="6768"/>
                    </a:cubicBezTo>
                    <a:lnTo>
                      <a:pt x="17846" y="6768"/>
                    </a:lnTo>
                    <a:cubicBezTo>
                      <a:pt x="18036" y="6628"/>
                      <a:pt x="18252" y="6528"/>
                      <a:pt x="18482" y="6476"/>
                    </a:cubicBezTo>
                    <a:lnTo>
                      <a:pt x="18482" y="6476"/>
                    </a:lnTo>
                    <a:cubicBezTo>
                      <a:pt x="18662" y="6364"/>
                      <a:pt x="18859" y="6282"/>
                      <a:pt x="19066" y="6235"/>
                    </a:cubicBezTo>
                    <a:lnTo>
                      <a:pt x="18911" y="6321"/>
                    </a:lnTo>
                    <a:cubicBezTo>
                      <a:pt x="19100" y="6321"/>
                      <a:pt x="19238" y="6149"/>
                      <a:pt x="19427" y="6115"/>
                    </a:cubicBezTo>
                    <a:lnTo>
                      <a:pt x="19238" y="6252"/>
                    </a:lnTo>
                    <a:cubicBezTo>
                      <a:pt x="20286" y="5617"/>
                      <a:pt x="22038" y="4998"/>
                      <a:pt x="20303" y="5909"/>
                    </a:cubicBezTo>
                    <a:cubicBezTo>
                      <a:pt x="20578" y="5823"/>
                      <a:pt x="21230" y="5411"/>
                      <a:pt x="21024" y="5651"/>
                    </a:cubicBezTo>
                    <a:cubicBezTo>
                      <a:pt x="21780" y="5393"/>
                      <a:pt x="20629" y="6012"/>
                      <a:pt x="20303" y="6149"/>
                    </a:cubicBezTo>
                    <a:cubicBezTo>
                      <a:pt x="20698" y="6012"/>
                      <a:pt x="20303" y="6149"/>
                      <a:pt x="20303" y="6149"/>
                    </a:cubicBezTo>
                    <a:cubicBezTo>
                      <a:pt x="20303" y="6149"/>
                      <a:pt x="20560" y="5977"/>
                      <a:pt x="20406" y="6149"/>
                    </a:cubicBezTo>
                    <a:cubicBezTo>
                      <a:pt x="20663" y="5857"/>
                      <a:pt x="20921" y="6149"/>
                      <a:pt x="20492" y="6235"/>
                    </a:cubicBezTo>
                    <a:cubicBezTo>
                      <a:pt x="20448" y="6218"/>
                      <a:pt x="20398" y="6218"/>
                      <a:pt x="20354" y="6235"/>
                    </a:cubicBezTo>
                    <a:cubicBezTo>
                      <a:pt x="20612" y="6235"/>
                      <a:pt x="20251" y="6321"/>
                      <a:pt x="20165" y="6355"/>
                    </a:cubicBezTo>
                    <a:cubicBezTo>
                      <a:pt x="20818" y="6149"/>
                      <a:pt x="19616" y="6647"/>
                      <a:pt x="20337" y="6355"/>
                    </a:cubicBezTo>
                    <a:cubicBezTo>
                      <a:pt x="19427" y="6750"/>
                      <a:pt x="20749" y="6355"/>
                      <a:pt x="19856" y="6716"/>
                    </a:cubicBezTo>
                    <a:cubicBezTo>
                      <a:pt x="19856" y="6819"/>
                      <a:pt x="19856" y="6716"/>
                      <a:pt x="20097" y="6716"/>
                    </a:cubicBezTo>
                    <a:cubicBezTo>
                      <a:pt x="19967" y="6814"/>
                      <a:pt x="19822" y="6889"/>
                      <a:pt x="19667" y="6939"/>
                    </a:cubicBezTo>
                    <a:cubicBezTo>
                      <a:pt x="19564" y="6939"/>
                      <a:pt x="20423" y="6939"/>
                      <a:pt x="19495" y="7145"/>
                    </a:cubicBezTo>
                    <a:cubicBezTo>
                      <a:pt x="19392" y="7145"/>
                      <a:pt x="19959" y="7145"/>
                      <a:pt x="19358" y="7266"/>
                    </a:cubicBezTo>
                    <a:cubicBezTo>
                      <a:pt x="19856" y="7094"/>
                      <a:pt x="19925" y="7266"/>
                      <a:pt x="19358" y="7352"/>
                    </a:cubicBezTo>
                    <a:cubicBezTo>
                      <a:pt x="19581" y="7541"/>
                      <a:pt x="19255" y="7592"/>
                      <a:pt x="19358" y="7523"/>
                    </a:cubicBezTo>
                    <a:cubicBezTo>
                      <a:pt x="19083" y="7523"/>
                      <a:pt x="19358" y="7747"/>
                      <a:pt x="19049" y="7626"/>
                    </a:cubicBezTo>
                    <a:cubicBezTo>
                      <a:pt x="18860" y="7953"/>
                      <a:pt x="19186" y="7764"/>
                      <a:pt x="18860" y="7918"/>
                    </a:cubicBezTo>
                    <a:cubicBezTo>
                      <a:pt x="19118" y="7833"/>
                      <a:pt x="18654" y="8193"/>
                      <a:pt x="18860" y="8039"/>
                    </a:cubicBezTo>
                    <a:cubicBezTo>
                      <a:pt x="18534" y="8365"/>
                      <a:pt x="19152" y="7850"/>
                      <a:pt x="18705" y="8399"/>
                    </a:cubicBezTo>
                    <a:cubicBezTo>
                      <a:pt x="18482" y="8520"/>
                      <a:pt x="19066" y="8399"/>
                      <a:pt x="18551" y="8588"/>
                    </a:cubicBezTo>
                    <a:cubicBezTo>
                      <a:pt x="18929" y="8434"/>
                      <a:pt x="18637" y="8966"/>
                      <a:pt x="18396" y="8829"/>
                    </a:cubicBezTo>
                    <a:cubicBezTo>
                      <a:pt x="18396" y="8966"/>
                      <a:pt x="18242" y="9069"/>
                      <a:pt x="18190" y="8966"/>
                    </a:cubicBezTo>
                    <a:cubicBezTo>
                      <a:pt x="18138" y="8863"/>
                      <a:pt x="18018" y="9155"/>
                      <a:pt x="18190" y="8966"/>
                    </a:cubicBezTo>
                    <a:cubicBezTo>
                      <a:pt x="18362" y="8777"/>
                      <a:pt x="17692" y="9447"/>
                      <a:pt x="17846" y="9155"/>
                    </a:cubicBezTo>
                    <a:cubicBezTo>
                      <a:pt x="17709" y="8966"/>
                      <a:pt x="18173" y="8709"/>
                      <a:pt x="18224" y="8605"/>
                    </a:cubicBezTo>
                    <a:cubicBezTo>
                      <a:pt x="17915" y="8777"/>
                      <a:pt x="18104" y="8605"/>
                      <a:pt x="18224" y="8434"/>
                    </a:cubicBezTo>
                    <a:cubicBezTo>
                      <a:pt x="18345" y="8262"/>
                      <a:pt x="17967" y="8640"/>
                      <a:pt x="18053" y="8434"/>
                    </a:cubicBezTo>
                    <a:cubicBezTo>
                      <a:pt x="17761" y="8709"/>
                      <a:pt x="17589" y="8743"/>
                      <a:pt x="17486" y="9155"/>
                    </a:cubicBezTo>
                    <a:cubicBezTo>
                      <a:pt x="17383" y="9567"/>
                      <a:pt x="16816" y="10065"/>
                      <a:pt x="16747" y="9842"/>
                    </a:cubicBezTo>
                    <a:cubicBezTo>
                      <a:pt x="16678" y="9619"/>
                      <a:pt x="16867" y="9722"/>
                      <a:pt x="16747" y="9396"/>
                    </a:cubicBezTo>
                    <a:cubicBezTo>
                      <a:pt x="16524" y="9791"/>
                      <a:pt x="16524" y="10306"/>
                      <a:pt x="16524" y="10306"/>
                    </a:cubicBezTo>
                    <a:cubicBezTo>
                      <a:pt x="15820" y="10461"/>
                      <a:pt x="16644" y="9104"/>
                      <a:pt x="16799" y="9069"/>
                    </a:cubicBezTo>
                    <a:cubicBezTo>
                      <a:pt x="16524" y="9172"/>
                      <a:pt x="16799" y="9069"/>
                      <a:pt x="16558" y="9069"/>
                    </a:cubicBezTo>
                    <a:cubicBezTo>
                      <a:pt x="16678" y="8897"/>
                      <a:pt x="16386" y="9155"/>
                      <a:pt x="16301" y="9069"/>
                    </a:cubicBezTo>
                    <a:cubicBezTo>
                      <a:pt x="16215" y="8983"/>
                      <a:pt x="17005" y="8382"/>
                      <a:pt x="16850" y="8794"/>
                    </a:cubicBezTo>
                    <a:cubicBezTo>
                      <a:pt x="18310" y="8485"/>
                      <a:pt x="19203" y="7077"/>
                      <a:pt x="19530" y="6733"/>
                    </a:cubicBezTo>
                    <a:cubicBezTo>
                      <a:pt x="19032" y="7145"/>
                      <a:pt x="19169" y="6733"/>
                      <a:pt x="18980" y="6733"/>
                    </a:cubicBezTo>
                    <a:cubicBezTo>
                      <a:pt x="18791" y="6733"/>
                      <a:pt x="19238" y="6579"/>
                      <a:pt x="18980" y="6561"/>
                    </a:cubicBezTo>
                    <a:cubicBezTo>
                      <a:pt x="19203" y="6321"/>
                      <a:pt x="18980" y="6561"/>
                      <a:pt x="18980" y="6373"/>
                    </a:cubicBezTo>
                    <a:lnTo>
                      <a:pt x="19083" y="6373"/>
                    </a:lnTo>
                    <a:lnTo>
                      <a:pt x="18929" y="6458"/>
                    </a:lnTo>
                    <a:cubicBezTo>
                      <a:pt x="18671" y="6579"/>
                      <a:pt x="18430" y="6733"/>
                      <a:pt x="18173" y="6871"/>
                    </a:cubicBezTo>
                    <a:lnTo>
                      <a:pt x="18173" y="6871"/>
                    </a:lnTo>
                    <a:lnTo>
                      <a:pt x="18293" y="6871"/>
                    </a:lnTo>
                    <a:lnTo>
                      <a:pt x="18242" y="6871"/>
                    </a:lnTo>
                    <a:lnTo>
                      <a:pt x="18242" y="6871"/>
                    </a:lnTo>
                    <a:cubicBezTo>
                      <a:pt x="18242" y="6957"/>
                      <a:pt x="17984" y="6871"/>
                      <a:pt x="17898" y="7025"/>
                    </a:cubicBezTo>
                    <a:lnTo>
                      <a:pt x="17898" y="7025"/>
                    </a:lnTo>
                    <a:lnTo>
                      <a:pt x="17898" y="7025"/>
                    </a:lnTo>
                    <a:lnTo>
                      <a:pt x="18001" y="7025"/>
                    </a:lnTo>
                    <a:cubicBezTo>
                      <a:pt x="18001" y="7025"/>
                      <a:pt x="18001" y="7025"/>
                      <a:pt x="18001" y="7025"/>
                    </a:cubicBezTo>
                    <a:lnTo>
                      <a:pt x="18001" y="7025"/>
                    </a:lnTo>
                    <a:cubicBezTo>
                      <a:pt x="18001" y="7025"/>
                      <a:pt x="17881" y="7025"/>
                      <a:pt x="17829" y="7025"/>
                    </a:cubicBezTo>
                    <a:lnTo>
                      <a:pt x="17829" y="7025"/>
                    </a:lnTo>
                    <a:lnTo>
                      <a:pt x="17829" y="7025"/>
                    </a:lnTo>
                    <a:cubicBezTo>
                      <a:pt x="17623" y="7180"/>
                      <a:pt x="17400" y="7300"/>
                      <a:pt x="17177" y="7437"/>
                    </a:cubicBezTo>
                    <a:lnTo>
                      <a:pt x="17434" y="7334"/>
                    </a:lnTo>
                    <a:lnTo>
                      <a:pt x="17434" y="7334"/>
                    </a:lnTo>
                    <a:lnTo>
                      <a:pt x="17864" y="7111"/>
                    </a:lnTo>
                    <a:cubicBezTo>
                      <a:pt x="17702" y="7258"/>
                      <a:pt x="17523" y="7385"/>
                      <a:pt x="17331" y="7489"/>
                    </a:cubicBezTo>
                    <a:lnTo>
                      <a:pt x="17331" y="7489"/>
                    </a:lnTo>
                    <a:cubicBezTo>
                      <a:pt x="17075" y="7607"/>
                      <a:pt x="16843" y="7770"/>
                      <a:pt x="16644" y="7970"/>
                    </a:cubicBezTo>
                    <a:cubicBezTo>
                      <a:pt x="16644" y="7970"/>
                      <a:pt x="16747" y="7884"/>
                      <a:pt x="16799" y="7884"/>
                    </a:cubicBezTo>
                    <a:lnTo>
                      <a:pt x="16799" y="7884"/>
                    </a:lnTo>
                    <a:lnTo>
                      <a:pt x="17675" y="7437"/>
                    </a:lnTo>
                    <a:lnTo>
                      <a:pt x="17675" y="7437"/>
                    </a:lnTo>
                    <a:lnTo>
                      <a:pt x="17675" y="7437"/>
                    </a:lnTo>
                    <a:cubicBezTo>
                      <a:pt x="17675" y="7437"/>
                      <a:pt x="17675" y="7334"/>
                      <a:pt x="17812" y="7352"/>
                    </a:cubicBezTo>
                    <a:lnTo>
                      <a:pt x="17812" y="7352"/>
                    </a:lnTo>
                    <a:cubicBezTo>
                      <a:pt x="17812" y="7352"/>
                      <a:pt x="17812" y="7352"/>
                      <a:pt x="17932" y="7352"/>
                    </a:cubicBezTo>
                    <a:lnTo>
                      <a:pt x="17932" y="7352"/>
                    </a:lnTo>
                    <a:lnTo>
                      <a:pt x="18362" y="7111"/>
                    </a:lnTo>
                    <a:cubicBezTo>
                      <a:pt x="18362" y="7111"/>
                      <a:pt x="18362" y="7111"/>
                      <a:pt x="18362" y="7266"/>
                    </a:cubicBezTo>
                    <a:lnTo>
                      <a:pt x="18362" y="7266"/>
                    </a:lnTo>
                    <a:cubicBezTo>
                      <a:pt x="18341" y="7321"/>
                      <a:pt x="18297" y="7365"/>
                      <a:pt x="18242" y="7386"/>
                    </a:cubicBezTo>
                    <a:cubicBezTo>
                      <a:pt x="18242" y="7300"/>
                      <a:pt x="18242" y="7472"/>
                      <a:pt x="18104" y="7489"/>
                    </a:cubicBezTo>
                    <a:cubicBezTo>
                      <a:pt x="17967" y="7506"/>
                      <a:pt x="17967" y="7626"/>
                      <a:pt x="17898" y="7626"/>
                    </a:cubicBezTo>
                    <a:cubicBezTo>
                      <a:pt x="17829" y="7626"/>
                      <a:pt x="17898" y="7626"/>
                      <a:pt x="17898" y="7626"/>
                    </a:cubicBezTo>
                    <a:lnTo>
                      <a:pt x="17898" y="7626"/>
                    </a:lnTo>
                    <a:cubicBezTo>
                      <a:pt x="17898" y="7626"/>
                      <a:pt x="17606" y="7764"/>
                      <a:pt x="17692" y="7626"/>
                    </a:cubicBezTo>
                    <a:lnTo>
                      <a:pt x="17692" y="7626"/>
                    </a:lnTo>
                    <a:cubicBezTo>
                      <a:pt x="17692" y="7626"/>
                      <a:pt x="17692" y="7712"/>
                      <a:pt x="17537" y="7729"/>
                    </a:cubicBezTo>
                    <a:lnTo>
                      <a:pt x="17537" y="7729"/>
                    </a:lnTo>
                    <a:cubicBezTo>
                      <a:pt x="17537" y="7729"/>
                      <a:pt x="17417" y="7729"/>
                      <a:pt x="17537" y="7729"/>
                    </a:cubicBezTo>
                    <a:cubicBezTo>
                      <a:pt x="17222" y="8004"/>
                      <a:pt x="16845" y="8199"/>
                      <a:pt x="16438" y="8296"/>
                    </a:cubicBezTo>
                    <a:cubicBezTo>
                      <a:pt x="16466" y="8278"/>
                      <a:pt x="16495" y="8261"/>
                      <a:pt x="16524" y="8245"/>
                    </a:cubicBezTo>
                    <a:lnTo>
                      <a:pt x="16524" y="8245"/>
                    </a:lnTo>
                    <a:lnTo>
                      <a:pt x="16661" y="8125"/>
                    </a:lnTo>
                    <a:lnTo>
                      <a:pt x="16661" y="8125"/>
                    </a:lnTo>
                    <a:cubicBezTo>
                      <a:pt x="16661" y="8125"/>
                      <a:pt x="16490" y="8210"/>
                      <a:pt x="16661" y="8125"/>
                    </a:cubicBezTo>
                    <a:cubicBezTo>
                      <a:pt x="16557" y="8250"/>
                      <a:pt x="16436" y="8360"/>
                      <a:pt x="16301" y="8451"/>
                    </a:cubicBezTo>
                    <a:lnTo>
                      <a:pt x="16404" y="8296"/>
                    </a:lnTo>
                    <a:cubicBezTo>
                      <a:pt x="16404" y="8296"/>
                      <a:pt x="16404" y="8382"/>
                      <a:pt x="16283" y="8399"/>
                    </a:cubicBezTo>
                    <a:cubicBezTo>
                      <a:pt x="16163" y="8417"/>
                      <a:pt x="16283" y="8399"/>
                      <a:pt x="16283" y="8399"/>
                    </a:cubicBezTo>
                    <a:lnTo>
                      <a:pt x="16283" y="8399"/>
                    </a:lnTo>
                    <a:lnTo>
                      <a:pt x="16438" y="8279"/>
                    </a:lnTo>
                    <a:cubicBezTo>
                      <a:pt x="16438" y="8279"/>
                      <a:pt x="16335" y="8279"/>
                      <a:pt x="16438" y="8279"/>
                    </a:cubicBezTo>
                    <a:lnTo>
                      <a:pt x="16438" y="8279"/>
                    </a:lnTo>
                    <a:lnTo>
                      <a:pt x="16438" y="8279"/>
                    </a:lnTo>
                    <a:cubicBezTo>
                      <a:pt x="16260" y="8438"/>
                      <a:pt x="16057" y="8566"/>
                      <a:pt x="15837" y="8657"/>
                    </a:cubicBezTo>
                    <a:lnTo>
                      <a:pt x="15837" y="8657"/>
                    </a:lnTo>
                    <a:cubicBezTo>
                      <a:pt x="15510" y="8846"/>
                      <a:pt x="15837" y="8520"/>
                      <a:pt x="15837" y="8365"/>
                    </a:cubicBezTo>
                    <a:cubicBezTo>
                      <a:pt x="15545" y="8537"/>
                      <a:pt x="15614" y="8846"/>
                      <a:pt x="15287" y="8932"/>
                    </a:cubicBezTo>
                    <a:lnTo>
                      <a:pt x="15287" y="8932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841" y="9138"/>
                    </a:cubicBezTo>
                    <a:lnTo>
                      <a:pt x="14841" y="9138"/>
                    </a:lnTo>
                    <a:lnTo>
                      <a:pt x="14841" y="9138"/>
                    </a:lnTo>
                    <a:cubicBezTo>
                      <a:pt x="14841" y="9138"/>
                      <a:pt x="14841" y="9138"/>
                      <a:pt x="14961" y="9035"/>
                    </a:cubicBezTo>
                    <a:cubicBezTo>
                      <a:pt x="15081" y="8932"/>
                      <a:pt x="14841" y="9035"/>
                      <a:pt x="14806" y="9121"/>
                    </a:cubicBezTo>
                    <a:cubicBezTo>
                      <a:pt x="14849" y="9096"/>
                      <a:pt x="14884" y="9060"/>
                      <a:pt x="14909" y="9018"/>
                    </a:cubicBezTo>
                    <a:cubicBezTo>
                      <a:pt x="14909" y="9018"/>
                      <a:pt x="14514" y="9344"/>
                      <a:pt x="14686" y="9138"/>
                    </a:cubicBezTo>
                    <a:lnTo>
                      <a:pt x="14531" y="9258"/>
                    </a:lnTo>
                    <a:cubicBezTo>
                      <a:pt x="14601" y="9111"/>
                      <a:pt x="14687" y="8973"/>
                      <a:pt x="14789" y="8846"/>
                    </a:cubicBezTo>
                    <a:lnTo>
                      <a:pt x="14789" y="8846"/>
                    </a:lnTo>
                    <a:lnTo>
                      <a:pt x="14789" y="8846"/>
                    </a:lnTo>
                    <a:lnTo>
                      <a:pt x="14703" y="8949"/>
                    </a:lnTo>
                    <a:cubicBezTo>
                      <a:pt x="14909" y="8794"/>
                      <a:pt x="14600" y="9138"/>
                      <a:pt x="14549" y="9121"/>
                    </a:cubicBezTo>
                    <a:lnTo>
                      <a:pt x="14686" y="9121"/>
                    </a:lnTo>
                    <a:cubicBezTo>
                      <a:pt x="14549" y="9361"/>
                      <a:pt x="13999" y="9653"/>
                      <a:pt x="14411" y="9121"/>
                    </a:cubicBezTo>
                    <a:cubicBezTo>
                      <a:pt x="14274" y="9207"/>
                      <a:pt x="14205" y="9361"/>
                      <a:pt x="14085" y="9447"/>
                    </a:cubicBez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4085" y="9447"/>
                    </a:lnTo>
                    <a:lnTo>
                      <a:pt x="13930" y="9585"/>
                    </a:lnTo>
                    <a:cubicBezTo>
                      <a:pt x="13930" y="9585"/>
                      <a:pt x="13930" y="9585"/>
                      <a:pt x="13930" y="9585"/>
                    </a:cubicBezTo>
                    <a:cubicBezTo>
                      <a:pt x="13930" y="9585"/>
                      <a:pt x="13810" y="9585"/>
                      <a:pt x="13776" y="9585"/>
                    </a:cubicBezTo>
                    <a:cubicBezTo>
                      <a:pt x="13741" y="9585"/>
                      <a:pt x="13260" y="9911"/>
                      <a:pt x="13123" y="9945"/>
                    </a:cubicBezTo>
                    <a:lnTo>
                      <a:pt x="13123" y="9945"/>
                    </a:lnTo>
                    <a:cubicBezTo>
                      <a:pt x="12737" y="10291"/>
                      <a:pt x="12330" y="10612"/>
                      <a:pt x="11903" y="10907"/>
                    </a:cubicBezTo>
                    <a:cubicBezTo>
                      <a:pt x="12900" y="10254"/>
                      <a:pt x="11749" y="11405"/>
                      <a:pt x="11525" y="11405"/>
                    </a:cubicBezTo>
                    <a:cubicBezTo>
                      <a:pt x="11972" y="11405"/>
                      <a:pt x="11732" y="11783"/>
                      <a:pt x="11525" y="12092"/>
                    </a:cubicBezTo>
                    <a:lnTo>
                      <a:pt x="11525" y="12092"/>
                    </a:lnTo>
                    <a:cubicBezTo>
                      <a:pt x="11512" y="12253"/>
                      <a:pt x="11471" y="12409"/>
                      <a:pt x="11405" y="12556"/>
                    </a:cubicBezTo>
                    <a:cubicBezTo>
                      <a:pt x="11525" y="12556"/>
                      <a:pt x="11508" y="12693"/>
                      <a:pt x="11629" y="12693"/>
                    </a:cubicBezTo>
                    <a:lnTo>
                      <a:pt x="11629" y="12693"/>
                    </a:lnTo>
                    <a:cubicBezTo>
                      <a:pt x="11143" y="13178"/>
                      <a:pt x="10727" y="13727"/>
                      <a:pt x="10392" y="14325"/>
                    </a:cubicBezTo>
                    <a:cubicBezTo>
                      <a:pt x="10598" y="14325"/>
                      <a:pt x="10546" y="14325"/>
                      <a:pt x="10753" y="14188"/>
                    </a:cubicBezTo>
                    <a:cubicBezTo>
                      <a:pt x="10753" y="14274"/>
                      <a:pt x="10546" y="14445"/>
                      <a:pt x="10649" y="14514"/>
                    </a:cubicBezTo>
                    <a:cubicBezTo>
                      <a:pt x="11067" y="13670"/>
                      <a:pt x="11757" y="12992"/>
                      <a:pt x="12608" y="12590"/>
                    </a:cubicBezTo>
                    <a:cubicBezTo>
                      <a:pt x="13106" y="12024"/>
                      <a:pt x="13484" y="11337"/>
                      <a:pt x="13999" y="11148"/>
                    </a:cubicBezTo>
                    <a:lnTo>
                      <a:pt x="13999" y="11148"/>
                    </a:lnTo>
                    <a:cubicBezTo>
                      <a:pt x="14085" y="11148"/>
                      <a:pt x="14119" y="10976"/>
                      <a:pt x="14205" y="10976"/>
                    </a:cubicBezTo>
                    <a:cubicBezTo>
                      <a:pt x="14291" y="10976"/>
                      <a:pt x="14205" y="10873"/>
                      <a:pt x="14325" y="10856"/>
                    </a:cubicBezTo>
                    <a:cubicBezTo>
                      <a:pt x="14446" y="10838"/>
                      <a:pt x="15493" y="9808"/>
                      <a:pt x="15081" y="10409"/>
                    </a:cubicBezTo>
                    <a:cubicBezTo>
                      <a:pt x="15081" y="10409"/>
                      <a:pt x="15253" y="10409"/>
                      <a:pt x="15201" y="10409"/>
                    </a:cubicBezTo>
                    <a:lnTo>
                      <a:pt x="15201" y="10409"/>
                    </a:lnTo>
                    <a:cubicBezTo>
                      <a:pt x="15510" y="10409"/>
                      <a:pt x="15201" y="10409"/>
                      <a:pt x="15304" y="10564"/>
                    </a:cubicBezTo>
                    <a:cubicBezTo>
                      <a:pt x="15407" y="10718"/>
                      <a:pt x="15201" y="10649"/>
                      <a:pt x="15167" y="10701"/>
                    </a:cubicBezTo>
                    <a:lnTo>
                      <a:pt x="15167" y="10701"/>
                    </a:lnTo>
                    <a:cubicBezTo>
                      <a:pt x="15167" y="10701"/>
                      <a:pt x="15167" y="10804"/>
                      <a:pt x="15167" y="10856"/>
                    </a:cubicBezTo>
                    <a:lnTo>
                      <a:pt x="15167" y="10856"/>
                    </a:lnTo>
                    <a:cubicBezTo>
                      <a:pt x="15167" y="10856"/>
                      <a:pt x="15167" y="10941"/>
                      <a:pt x="15167" y="10941"/>
                    </a:cubicBezTo>
                    <a:lnTo>
                      <a:pt x="15167" y="10941"/>
                    </a:lnTo>
                    <a:cubicBezTo>
                      <a:pt x="15167" y="10941"/>
                      <a:pt x="15167" y="11027"/>
                      <a:pt x="15047" y="11079"/>
                    </a:cubicBez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lnTo>
                      <a:pt x="15047" y="11079"/>
                    </a:lnTo>
                    <a:cubicBezTo>
                      <a:pt x="15201" y="11079"/>
                      <a:pt x="15047" y="11165"/>
                      <a:pt x="15047" y="11216"/>
                    </a:cubicBezTo>
                    <a:cubicBezTo>
                      <a:pt x="15047" y="11268"/>
                      <a:pt x="15150" y="11113"/>
                      <a:pt x="15201" y="11130"/>
                    </a:cubicBezTo>
                    <a:cubicBezTo>
                      <a:pt x="15253" y="11148"/>
                      <a:pt x="14909" y="11337"/>
                      <a:pt x="14789" y="11508"/>
                    </a:cubicBezTo>
                    <a:lnTo>
                      <a:pt x="14789" y="11508"/>
                    </a:lnTo>
                    <a:cubicBezTo>
                      <a:pt x="14789" y="11508"/>
                      <a:pt x="14652" y="11629"/>
                      <a:pt x="14583" y="11508"/>
                    </a:cubicBezTo>
                    <a:cubicBezTo>
                      <a:pt x="14772" y="11680"/>
                      <a:pt x="14308" y="12041"/>
                      <a:pt x="14325" y="11989"/>
                    </a:cubicBezTo>
                    <a:cubicBezTo>
                      <a:pt x="14342" y="11938"/>
                      <a:pt x="14325" y="12144"/>
                      <a:pt x="14325" y="11989"/>
                    </a:cubicBezTo>
                    <a:cubicBezTo>
                      <a:pt x="14325" y="11835"/>
                      <a:pt x="14119" y="12264"/>
                      <a:pt x="14016" y="12367"/>
                    </a:cubicBezTo>
                    <a:cubicBezTo>
                      <a:pt x="14291" y="12178"/>
                      <a:pt x="14360" y="12144"/>
                      <a:pt x="14016" y="12367"/>
                    </a:cubicBezTo>
                    <a:cubicBezTo>
                      <a:pt x="14016" y="12367"/>
                      <a:pt x="14308" y="12127"/>
                      <a:pt x="14308" y="12230"/>
                    </a:cubicBezTo>
                    <a:cubicBezTo>
                      <a:pt x="14308" y="12333"/>
                      <a:pt x="14463" y="12109"/>
                      <a:pt x="14549" y="12075"/>
                    </a:cubicBezTo>
                    <a:cubicBezTo>
                      <a:pt x="14564" y="12131"/>
                      <a:pt x="14564" y="12191"/>
                      <a:pt x="14549" y="12247"/>
                    </a:cubicBezTo>
                    <a:cubicBezTo>
                      <a:pt x="14549" y="12161"/>
                      <a:pt x="14961" y="11800"/>
                      <a:pt x="14995" y="11921"/>
                    </a:cubicBezTo>
                    <a:cubicBezTo>
                      <a:pt x="15030" y="12041"/>
                      <a:pt x="14995" y="11921"/>
                      <a:pt x="14995" y="11921"/>
                    </a:cubicBezTo>
                    <a:cubicBezTo>
                      <a:pt x="14995" y="11921"/>
                      <a:pt x="14995" y="11817"/>
                      <a:pt x="15133" y="11817"/>
                    </a:cubicBezTo>
                    <a:lnTo>
                      <a:pt x="15133" y="11817"/>
                    </a:lnTo>
                    <a:cubicBezTo>
                      <a:pt x="15133" y="11732"/>
                      <a:pt x="15579" y="11457"/>
                      <a:pt x="15442" y="11577"/>
                    </a:cubicBezTo>
                    <a:lnTo>
                      <a:pt x="15442" y="11577"/>
                    </a:lnTo>
                    <a:cubicBezTo>
                      <a:pt x="15442" y="11577"/>
                      <a:pt x="15442" y="11697"/>
                      <a:pt x="15322" y="11697"/>
                    </a:cubicBezTo>
                    <a:cubicBezTo>
                      <a:pt x="15201" y="11697"/>
                      <a:pt x="15322" y="11697"/>
                      <a:pt x="15322" y="11783"/>
                    </a:cubicBezTo>
                    <a:lnTo>
                      <a:pt x="15322" y="11783"/>
                    </a:lnTo>
                    <a:cubicBezTo>
                      <a:pt x="15218" y="11783"/>
                      <a:pt x="15322" y="11955"/>
                      <a:pt x="15150" y="12006"/>
                    </a:cubicBezTo>
                    <a:cubicBezTo>
                      <a:pt x="14978" y="12058"/>
                      <a:pt x="15150" y="12127"/>
                      <a:pt x="15150" y="12006"/>
                    </a:cubicBezTo>
                    <a:cubicBezTo>
                      <a:pt x="15150" y="11886"/>
                      <a:pt x="14789" y="12161"/>
                      <a:pt x="15150" y="12144"/>
                    </a:cubicBezTo>
                    <a:cubicBezTo>
                      <a:pt x="15510" y="12127"/>
                      <a:pt x="14961" y="12298"/>
                      <a:pt x="15150" y="12247"/>
                    </a:cubicBezTo>
                    <a:cubicBezTo>
                      <a:pt x="15339" y="12195"/>
                      <a:pt x="14995" y="12419"/>
                      <a:pt x="14978" y="12247"/>
                    </a:cubicBezTo>
                    <a:cubicBezTo>
                      <a:pt x="14961" y="12075"/>
                      <a:pt x="14978" y="12333"/>
                      <a:pt x="14978" y="12350"/>
                    </a:cubicBezTo>
                    <a:cubicBezTo>
                      <a:pt x="14978" y="12367"/>
                      <a:pt x="15098" y="12350"/>
                      <a:pt x="15150" y="12350"/>
                    </a:cubicBezTo>
                    <a:cubicBezTo>
                      <a:pt x="15201" y="12350"/>
                      <a:pt x="14961" y="12350"/>
                      <a:pt x="14892" y="12505"/>
                    </a:cubicBezTo>
                    <a:cubicBezTo>
                      <a:pt x="15133" y="12505"/>
                      <a:pt x="15047" y="12505"/>
                      <a:pt x="14892" y="12608"/>
                    </a:cubicBezTo>
                    <a:cubicBezTo>
                      <a:pt x="14738" y="12711"/>
                      <a:pt x="14892" y="12608"/>
                      <a:pt x="14995" y="12608"/>
                    </a:cubicBezTo>
                    <a:cubicBezTo>
                      <a:pt x="15011" y="12682"/>
                      <a:pt x="14963" y="12755"/>
                      <a:pt x="14889" y="12770"/>
                    </a:cubicBezTo>
                    <a:cubicBezTo>
                      <a:pt x="14861" y="12776"/>
                      <a:pt x="14832" y="12773"/>
                      <a:pt x="14806" y="12762"/>
                    </a:cubicBezTo>
                    <a:cubicBezTo>
                      <a:pt x="14806" y="12762"/>
                      <a:pt x="14961" y="12848"/>
                      <a:pt x="14806" y="12917"/>
                    </a:cubicBezTo>
                    <a:cubicBezTo>
                      <a:pt x="14995" y="13020"/>
                      <a:pt x="14600" y="13157"/>
                      <a:pt x="14566" y="13089"/>
                    </a:cubicBezTo>
                    <a:cubicBezTo>
                      <a:pt x="14531" y="13020"/>
                      <a:pt x="14566" y="13363"/>
                      <a:pt x="14411" y="13312"/>
                    </a:cubicBezTo>
                    <a:cubicBezTo>
                      <a:pt x="14257" y="13260"/>
                      <a:pt x="14669" y="13312"/>
                      <a:pt x="14531" y="13415"/>
                    </a:cubicBezTo>
                    <a:cubicBezTo>
                      <a:pt x="14394" y="13518"/>
                      <a:pt x="14531" y="13415"/>
                      <a:pt x="14531" y="13501"/>
                    </a:cubicBezTo>
                    <a:cubicBezTo>
                      <a:pt x="14531" y="13587"/>
                      <a:pt x="14531" y="13501"/>
                      <a:pt x="14531" y="13621"/>
                    </a:cubicBezTo>
                    <a:lnTo>
                      <a:pt x="14634" y="13621"/>
                    </a:lnTo>
                    <a:cubicBezTo>
                      <a:pt x="14634" y="13707"/>
                      <a:pt x="14428" y="13879"/>
                      <a:pt x="14325" y="13844"/>
                    </a:cubicBezTo>
                    <a:cubicBezTo>
                      <a:pt x="14222" y="13810"/>
                      <a:pt x="14480" y="13844"/>
                      <a:pt x="14549" y="13844"/>
                    </a:cubicBezTo>
                    <a:cubicBezTo>
                      <a:pt x="14325" y="14050"/>
                      <a:pt x="14549" y="13844"/>
                      <a:pt x="14549" y="13844"/>
                    </a:cubicBezTo>
                    <a:cubicBezTo>
                      <a:pt x="14549" y="13844"/>
                      <a:pt x="14549" y="13844"/>
                      <a:pt x="14394" y="13999"/>
                    </a:cubicBezTo>
                    <a:cubicBezTo>
                      <a:pt x="14394" y="13999"/>
                      <a:pt x="14686" y="13810"/>
                      <a:pt x="14549" y="13999"/>
                    </a:cubicBezTo>
                    <a:lnTo>
                      <a:pt x="14549" y="13999"/>
                    </a:lnTo>
                    <a:cubicBezTo>
                      <a:pt x="14549" y="13999"/>
                      <a:pt x="14463" y="14102"/>
                      <a:pt x="14446" y="14153"/>
                    </a:cubicBezTo>
                    <a:cubicBezTo>
                      <a:pt x="14428" y="14205"/>
                      <a:pt x="14755" y="14153"/>
                      <a:pt x="14549" y="14153"/>
                    </a:cubicBezTo>
                    <a:cubicBezTo>
                      <a:pt x="14806" y="14342"/>
                      <a:pt x="14205" y="14239"/>
                      <a:pt x="14119" y="14360"/>
                    </a:cubicBezTo>
                    <a:cubicBezTo>
                      <a:pt x="14566" y="14360"/>
                      <a:pt x="13982" y="14360"/>
                      <a:pt x="13896" y="14497"/>
                    </a:cubicBezTo>
                    <a:cubicBezTo>
                      <a:pt x="13870" y="14437"/>
                      <a:pt x="13870" y="14368"/>
                      <a:pt x="13896" y="14308"/>
                    </a:cubicBezTo>
                    <a:cubicBezTo>
                      <a:pt x="13896" y="14445"/>
                      <a:pt x="13896" y="14531"/>
                      <a:pt x="13793" y="14634"/>
                    </a:cubicBezTo>
                    <a:cubicBezTo>
                      <a:pt x="13982" y="14634"/>
                      <a:pt x="14188" y="14342"/>
                      <a:pt x="14428" y="14411"/>
                    </a:cubicBezTo>
                    <a:cubicBezTo>
                      <a:pt x="14308" y="14257"/>
                      <a:pt x="14806" y="14411"/>
                      <a:pt x="14428" y="14617"/>
                    </a:cubicBezTo>
                    <a:cubicBezTo>
                      <a:pt x="14428" y="14617"/>
                      <a:pt x="14428" y="14617"/>
                      <a:pt x="14428" y="14617"/>
                    </a:cubicBezTo>
                    <a:cubicBezTo>
                      <a:pt x="14428" y="14617"/>
                      <a:pt x="14703" y="14463"/>
                      <a:pt x="14566" y="14617"/>
                    </a:cubicBezTo>
                    <a:cubicBezTo>
                      <a:pt x="14428" y="14772"/>
                      <a:pt x="14669" y="14617"/>
                      <a:pt x="14652" y="14617"/>
                    </a:cubicBezTo>
                    <a:cubicBezTo>
                      <a:pt x="14634" y="14617"/>
                      <a:pt x="14652" y="14789"/>
                      <a:pt x="14497" y="14772"/>
                    </a:cubicBezTo>
                    <a:cubicBezTo>
                      <a:pt x="14600" y="14772"/>
                      <a:pt x="14360" y="14995"/>
                      <a:pt x="14360" y="14875"/>
                    </a:cubicBezTo>
                    <a:cubicBezTo>
                      <a:pt x="14360" y="14755"/>
                      <a:pt x="14549" y="15047"/>
                      <a:pt x="14360" y="15012"/>
                    </a:cubicBezTo>
                    <a:cubicBezTo>
                      <a:pt x="14583" y="15115"/>
                      <a:pt x="13879" y="15407"/>
                      <a:pt x="13844" y="15287"/>
                    </a:cubicBezTo>
                    <a:cubicBezTo>
                      <a:pt x="13810" y="15167"/>
                      <a:pt x="13724" y="15287"/>
                      <a:pt x="13844" y="15287"/>
                    </a:cubicBezTo>
                    <a:cubicBezTo>
                      <a:pt x="13381" y="15682"/>
                      <a:pt x="13003" y="15734"/>
                      <a:pt x="12590" y="15407"/>
                    </a:cubicBezTo>
                    <a:cubicBezTo>
                      <a:pt x="12590" y="15407"/>
                      <a:pt x="12213" y="15407"/>
                      <a:pt x="12247" y="15253"/>
                    </a:cubicBezTo>
                    <a:cubicBezTo>
                      <a:pt x="11629" y="15631"/>
                      <a:pt x="11062" y="16026"/>
                      <a:pt x="10426" y="16369"/>
                    </a:cubicBezTo>
                    <a:cubicBezTo>
                      <a:pt x="10849" y="16193"/>
                      <a:pt x="11326" y="16193"/>
                      <a:pt x="11749" y="16369"/>
                    </a:cubicBezTo>
                    <a:cubicBezTo>
                      <a:pt x="11704" y="16429"/>
                      <a:pt x="11645" y="16477"/>
                      <a:pt x="11577" y="16507"/>
                    </a:cubicBezTo>
                    <a:cubicBezTo>
                      <a:pt x="11749" y="16507"/>
                      <a:pt x="11354" y="16885"/>
                      <a:pt x="11577" y="16936"/>
                    </a:cubicBezTo>
                    <a:cubicBezTo>
                      <a:pt x="11405" y="17022"/>
                      <a:pt x="11732" y="17262"/>
                      <a:pt x="11835" y="17125"/>
                    </a:cubicBezTo>
                    <a:cubicBezTo>
                      <a:pt x="11835" y="17125"/>
                      <a:pt x="11972" y="17262"/>
                      <a:pt x="11835" y="17245"/>
                    </a:cubicBezTo>
                    <a:cubicBezTo>
                      <a:pt x="12075" y="17245"/>
                      <a:pt x="11182" y="17520"/>
                      <a:pt x="11251" y="17365"/>
                    </a:cubicBezTo>
                    <a:cubicBezTo>
                      <a:pt x="11101" y="17505"/>
                      <a:pt x="10940" y="17631"/>
                      <a:pt x="10770" y="17743"/>
                    </a:cubicBezTo>
                    <a:lnTo>
                      <a:pt x="10770" y="17743"/>
                    </a:lnTo>
                    <a:cubicBezTo>
                      <a:pt x="10667" y="17743"/>
                      <a:pt x="10770" y="17589"/>
                      <a:pt x="10770" y="17640"/>
                    </a:cubicBezTo>
                    <a:cubicBezTo>
                      <a:pt x="10770" y="17417"/>
                      <a:pt x="11371" y="16988"/>
                      <a:pt x="11371" y="17280"/>
                    </a:cubicBezTo>
                    <a:cubicBezTo>
                      <a:pt x="11371" y="17177"/>
                      <a:pt x="11491" y="17280"/>
                      <a:pt x="11543" y="17194"/>
                    </a:cubicBezTo>
                    <a:cubicBezTo>
                      <a:pt x="11233" y="17073"/>
                      <a:pt x="11233" y="17194"/>
                      <a:pt x="11543" y="16970"/>
                    </a:cubicBezTo>
                    <a:lnTo>
                      <a:pt x="11543" y="16970"/>
                    </a:lnTo>
                    <a:lnTo>
                      <a:pt x="11543" y="16970"/>
                    </a:lnTo>
                    <a:cubicBezTo>
                      <a:pt x="11543" y="17073"/>
                      <a:pt x="11045" y="17245"/>
                      <a:pt x="11233" y="16970"/>
                    </a:cubicBezTo>
                    <a:cubicBezTo>
                      <a:pt x="11096" y="17125"/>
                      <a:pt x="11045" y="17073"/>
                      <a:pt x="10924" y="16970"/>
                    </a:cubicBezTo>
                    <a:cubicBezTo>
                      <a:pt x="10804" y="16867"/>
                      <a:pt x="10924" y="17091"/>
                      <a:pt x="10924" y="17159"/>
                    </a:cubicBezTo>
                    <a:cubicBezTo>
                      <a:pt x="10924" y="17228"/>
                      <a:pt x="10924" y="17331"/>
                      <a:pt x="10924" y="17159"/>
                    </a:cubicBezTo>
                    <a:cubicBezTo>
                      <a:pt x="10924" y="16988"/>
                      <a:pt x="10598" y="17314"/>
                      <a:pt x="10667" y="17159"/>
                    </a:cubicBezTo>
                    <a:cubicBezTo>
                      <a:pt x="10735" y="17005"/>
                      <a:pt x="10478" y="17245"/>
                      <a:pt x="10667" y="17159"/>
                    </a:cubicBezTo>
                    <a:cubicBezTo>
                      <a:pt x="10856" y="17073"/>
                      <a:pt x="10546" y="17297"/>
                      <a:pt x="10478" y="17331"/>
                    </a:cubicBezTo>
                    <a:lnTo>
                      <a:pt x="10478" y="17331"/>
                    </a:lnTo>
                    <a:cubicBezTo>
                      <a:pt x="10478" y="17331"/>
                      <a:pt x="10478" y="17417"/>
                      <a:pt x="10478" y="17331"/>
                    </a:cubicBezTo>
                    <a:cubicBezTo>
                      <a:pt x="10478" y="17245"/>
                      <a:pt x="10357" y="17469"/>
                      <a:pt x="10478" y="17331"/>
                    </a:cubicBezTo>
                    <a:cubicBezTo>
                      <a:pt x="10254" y="17331"/>
                      <a:pt x="9722" y="18345"/>
                      <a:pt x="10083" y="18001"/>
                    </a:cubicBezTo>
                    <a:cubicBezTo>
                      <a:pt x="10083" y="18138"/>
                      <a:pt x="9842" y="18327"/>
                      <a:pt x="9911" y="18087"/>
                    </a:cubicBezTo>
                    <a:cubicBezTo>
                      <a:pt x="9773" y="18259"/>
                      <a:pt x="9791" y="18241"/>
                      <a:pt x="9808" y="18087"/>
                    </a:cubicBezTo>
                    <a:cubicBezTo>
                      <a:pt x="9360" y="18252"/>
                      <a:pt x="8984" y="18568"/>
                      <a:pt x="8743" y="18980"/>
                    </a:cubicBezTo>
                    <a:lnTo>
                      <a:pt x="8743" y="18980"/>
                    </a:lnTo>
                    <a:lnTo>
                      <a:pt x="8743" y="18980"/>
                    </a:lnTo>
                    <a:cubicBezTo>
                      <a:pt x="8743" y="18980"/>
                      <a:pt x="8743" y="18825"/>
                      <a:pt x="8743" y="18740"/>
                    </a:cubicBezTo>
                    <a:cubicBezTo>
                      <a:pt x="8605" y="18980"/>
                      <a:pt x="8588" y="19289"/>
                      <a:pt x="8365" y="19495"/>
                    </a:cubicBezTo>
                    <a:lnTo>
                      <a:pt x="8365" y="19495"/>
                    </a:lnTo>
                    <a:lnTo>
                      <a:pt x="8262" y="19650"/>
                    </a:lnTo>
                    <a:cubicBezTo>
                      <a:pt x="8298" y="19536"/>
                      <a:pt x="8356" y="19431"/>
                      <a:pt x="8434" y="19341"/>
                    </a:cubicBezTo>
                    <a:cubicBezTo>
                      <a:pt x="8434" y="19341"/>
                      <a:pt x="8434" y="19255"/>
                      <a:pt x="8434" y="19221"/>
                    </a:cubicBezTo>
                    <a:lnTo>
                      <a:pt x="8434" y="19221"/>
                    </a:lnTo>
                    <a:cubicBezTo>
                      <a:pt x="8434" y="19014"/>
                      <a:pt x="8605" y="18860"/>
                      <a:pt x="8674" y="18671"/>
                    </a:cubicBezTo>
                    <a:cubicBezTo>
                      <a:pt x="8545" y="18838"/>
                      <a:pt x="8441" y="19023"/>
                      <a:pt x="8365" y="19221"/>
                    </a:cubicBezTo>
                    <a:cubicBezTo>
                      <a:pt x="8365" y="19117"/>
                      <a:pt x="8365" y="19032"/>
                      <a:pt x="8365" y="18929"/>
                    </a:cubicBezTo>
                    <a:cubicBezTo>
                      <a:pt x="8365" y="18825"/>
                      <a:pt x="8365" y="19581"/>
                      <a:pt x="8365" y="19324"/>
                    </a:cubicBezTo>
                    <a:cubicBezTo>
                      <a:pt x="8365" y="19324"/>
                      <a:pt x="8365" y="19598"/>
                      <a:pt x="8365" y="19530"/>
                    </a:cubicBezTo>
                    <a:cubicBezTo>
                      <a:pt x="8365" y="19461"/>
                      <a:pt x="8365" y="19616"/>
                      <a:pt x="8365" y="19650"/>
                    </a:cubicBezTo>
                    <a:cubicBezTo>
                      <a:pt x="8374" y="19605"/>
                      <a:pt x="8374" y="19558"/>
                      <a:pt x="8365" y="19513"/>
                    </a:cubicBezTo>
                    <a:cubicBezTo>
                      <a:pt x="8365" y="19650"/>
                      <a:pt x="8502" y="19719"/>
                      <a:pt x="8365" y="19856"/>
                    </a:cubicBezTo>
                    <a:lnTo>
                      <a:pt x="8365" y="19856"/>
                    </a:lnTo>
                    <a:cubicBezTo>
                      <a:pt x="8365" y="19993"/>
                      <a:pt x="8176" y="20148"/>
                      <a:pt x="8210" y="19976"/>
                    </a:cubicBezTo>
                    <a:cubicBezTo>
                      <a:pt x="8245" y="19805"/>
                      <a:pt x="8210" y="20079"/>
                      <a:pt x="8210" y="20097"/>
                    </a:cubicBezTo>
                    <a:cubicBezTo>
                      <a:pt x="8210" y="20114"/>
                      <a:pt x="8296" y="20097"/>
                      <a:pt x="8313" y="20234"/>
                    </a:cubicBezTo>
                    <a:cubicBezTo>
                      <a:pt x="8304" y="20200"/>
                      <a:pt x="8304" y="20165"/>
                      <a:pt x="8313" y="20131"/>
                    </a:cubicBezTo>
                    <a:cubicBezTo>
                      <a:pt x="8313" y="20234"/>
                      <a:pt x="8313" y="20285"/>
                      <a:pt x="8176" y="20354"/>
                    </a:cubicBezTo>
                    <a:cubicBezTo>
                      <a:pt x="8039" y="20423"/>
                      <a:pt x="8176" y="20354"/>
                      <a:pt x="8176" y="20251"/>
                    </a:cubicBezTo>
                    <a:cubicBezTo>
                      <a:pt x="8176" y="20148"/>
                      <a:pt x="8176" y="20251"/>
                      <a:pt x="8176" y="20251"/>
                    </a:cubicBezTo>
                    <a:cubicBezTo>
                      <a:pt x="8176" y="20251"/>
                      <a:pt x="8176" y="20474"/>
                      <a:pt x="8176" y="20389"/>
                    </a:cubicBezTo>
                    <a:lnTo>
                      <a:pt x="8176" y="20389"/>
                    </a:lnTo>
                    <a:lnTo>
                      <a:pt x="8176" y="20389"/>
                    </a:lnTo>
                    <a:lnTo>
                      <a:pt x="8176" y="20389"/>
                    </a:lnTo>
                    <a:cubicBezTo>
                      <a:pt x="6991" y="20389"/>
                      <a:pt x="6458" y="2499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cubicBezTo>
                      <a:pt x="6579" y="22982"/>
                      <a:pt x="6579" y="22982"/>
                      <a:pt x="6579" y="22982"/>
                    </a:cubicBezTo>
                    <a:lnTo>
                      <a:pt x="6579" y="22982"/>
                    </a:lnTo>
                    <a:cubicBezTo>
                      <a:pt x="6579" y="22879"/>
                      <a:pt x="6579" y="22707"/>
                      <a:pt x="6579" y="22604"/>
                    </a:cubicBezTo>
                    <a:cubicBezTo>
                      <a:pt x="6579" y="22501"/>
                      <a:pt x="6579" y="22604"/>
                      <a:pt x="6579" y="22707"/>
                    </a:cubicBezTo>
                    <a:cubicBezTo>
                      <a:pt x="6579" y="22810"/>
                      <a:pt x="6853" y="21780"/>
                      <a:pt x="6579" y="21745"/>
                    </a:cubicBezTo>
                    <a:cubicBezTo>
                      <a:pt x="6304" y="21711"/>
                      <a:pt x="6476" y="21849"/>
                      <a:pt x="6579" y="21745"/>
                    </a:cubicBezTo>
                    <a:lnTo>
                      <a:pt x="6579" y="21745"/>
                    </a:lnTo>
                    <a:lnTo>
                      <a:pt x="6579" y="21745"/>
                    </a:lnTo>
                    <a:cubicBezTo>
                      <a:pt x="6579" y="21745"/>
                      <a:pt x="6579" y="21574"/>
                      <a:pt x="6579" y="21642"/>
                    </a:cubicBezTo>
                    <a:cubicBezTo>
                      <a:pt x="6587" y="21603"/>
                      <a:pt x="6587" y="21562"/>
                      <a:pt x="6579" y="21522"/>
                    </a:cubicBezTo>
                    <a:lnTo>
                      <a:pt x="6579" y="21522"/>
                    </a:lnTo>
                    <a:cubicBezTo>
                      <a:pt x="6579" y="21522"/>
                      <a:pt x="6579" y="21436"/>
                      <a:pt x="6579" y="21385"/>
                    </a:cubicBezTo>
                    <a:lnTo>
                      <a:pt x="6579" y="21385"/>
                    </a:ln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385"/>
                      <a:pt x="6579" y="21385"/>
                    </a:cubicBezTo>
                    <a:cubicBezTo>
                      <a:pt x="6579" y="21385"/>
                      <a:pt x="6579" y="21282"/>
                      <a:pt x="6579" y="21230"/>
                    </a:cubicBezTo>
                    <a:lnTo>
                      <a:pt x="6579" y="21333"/>
                    </a:lnTo>
                    <a:cubicBezTo>
                      <a:pt x="6579" y="21230"/>
                      <a:pt x="6390" y="21333"/>
                      <a:pt x="6373" y="21453"/>
                    </a:cubicBezTo>
                    <a:lnTo>
                      <a:pt x="6373" y="21453"/>
                    </a:lnTo>
                    <a:cubicBezTo>
                      <a:pt x="6373" y="21642"/>
                      <a:pt x="6373" y="21763"/>
                      <a:pt x="6373" y="21849"/>
                    </a:cubicBezTo>
                    <a:cubicBezTo>
                      <a:pt x="6373" y="21934"/>
                      <a:pt x="6373" y="21471"/>
                      <a:pt x="6373" y="21763"/>
                    </a:cubicBezTo>
                    <a:lnTo>
                      <a:pt x="6373" y="21660"/>
                    </a:lnTo>
                    <a:cubicBezTo>
                      <a:pt x="6373" y="21539"/>
                      <a:pt x="6373" y="21471"/>
                      <a:pt x="6373" y="21350"/>
                    </a:cubicBezTo>
                    <a:cubicBezTo>
                      <a:pt x="6373" y="21230"/>
                      <a:pt x="6373" y="21350"/>
                      <a:pt x="6373" y="21350"/>
                    </a:cubicBezTo>
                    <a:cubicBezTo>
                      <a:pt x="6373" y="21591"/>
                      <a:pt x="6373" y="21076"/>
                      <a:pt x="6184" y="21350"/>
                    </a:cubicBezTo>
                    <a:cubicBezTo>
                      <a:pt x="6184" y="21350"/>
                      <a:pt x="6184" y="21196"/>
                      <a:pt x="6184" y="21127"/>
                    </a:cubicBezTo>
                    <a:cubicBezTo>
                      <a:pt x="6184" y="21058"/>
                      <a:pt x="6184" y="21247"/>
                      <a:pt x="6184" y="21127"/>
                    </a:cubicBezTo>
                    <a:cubicBezTo>
                      <a:pt x="6193" y="21213"/>
                      <a:pt x="6193" y="21299"/>
                      <a:pt x="6184" y="21385"/>
                    </a:cubicBezTo>
                    <a:lnTo>
                      <a:pt x="6184" y="21385"/>
                    </a:lnTo>
                    <a:lnTo>
                      <a:pt x="6184" y="21505"/>
                    </a:lnTo>
                    <a:lnTo>
                      <a:pt x="6184" y="21505"/>
                    </a:lnTo>
                    <a:cubicBezTo>
                      <a:pt x="6184" y="21591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505"/>
                      <a:pt x="6184" y="21505"/>
                    </a:cubicBezTo>
                    <a:lnTo>
                      <a:pt x="6184" y="21505"/>
                    </a:lnTo>
                    <a:cubicBezTo>
                      <a:pt x="6184" y="21505"/>
                      <a:pt x="6184" y="21608"/>
                      <a:pt x="6184" y="21608"/>
                    </a:cubicBezTo>
                    <a:lnTo>
                      <a:pt x="6184" y="21608"/>
                    </a:lnTo>
                    <a:cubicBezTo>
                      <a:pt x="6085" y="21918"/>
                      <a:pt x="6005" y="22233"/>
                      <a:pt x="5943" y="22553"/>
                    </a:cubicBezTo>
                    <a:cubicBezTo>
                      <a:pt x="5943" y="22553"/>
                      <a:pt x="5943" y="22433"/>
                      <a:pt x="5943" y="22398"/>
                    </a:cubicBezTo>
                    <a:cubicBezTo>
                      <a:pt x="5943" y="22364"/>
                      <a:pt x="5840" y="22862"/>
                      <a:pt x="5943" y="22621"/>
                    </a:cubicBezTo>
                    <a:cubicBezTo>
                      <a:pt x="5838" y="23115"/>
                      <a:pt x="5758" y="23614"/>
                      <a:pt x="5703" y="24116"/>
                    </a:cubicBezTo>
                    <a:cubicBezTo>
                      <a:pt x="5668" y="24579"/>
                      <a:pt x="5668" y="25044"/>
                      <a:pt x="5703" y="25507"/>
                    </a:cubicBezTo>
                    <a:cubicBezTo>
                      <a:pt x="5703" y="25507"/>
                      <a:pt x="5703" y="25507"/>
                      <a:pt x="5703" y="25507"/>
                    </a:cubicBezTo>
                    <a:cubicBezTo>
                      <a:pt x="5709" y="25479"/>
                      <a:pt x="5709" y="25449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421"/>
                      <a:pt x="5703" y="25421"/>
                    </a:cubicBezTo>
                    <a:lnTo>
                      <a:pt x="5703" y="25421"/>
                    </a:lnTo>
                    <a:cubicBezTo>
                      <a:pt x="5703" y="25421"/>
                      <a:pt x="5703" y="25559"/>
                      <a:pt x="5703" y="25627"/>
                    </a:cubicBezTo>
                    <a:lnTo>
                      <a:pt x="5703" y="25627"/>
                    </a:lnTo>
                    <a:lnTo>
                      <a:pt x="5703" y="25627"/>
                    </a:lnTo>
                    <a:cubicBezTo>
                      <a:pt x="5711" y="25553"/>
                      <a:pt x="5711" y="25478"/>
                      <a:pt x="5703" y="25404"/>
                    </a:cubicBezTo>
                    <a:lnTo>
                      <a:pt x="5703" y="25404"/>
                    </a:lnTo>
                    <a:cubicBezTo>
                      <a:pt x="5857" y="25249"/>
                      <a:pt x="5703" y="24511"/>
                      <a:pt x="5995" y="24665"/>
                    </a:cubicBezTo>
                    <a:cubicBezTo>
                      <a:pt x="5995" y="24665"/>
                      <a:pt x="5995" y="24562"/>
                      <a:pt x="5995" y="24665"/>
                    </a:cubicBezTo>
                    <a:cubicBezTo>
                      <a:pt x="5995" y="24769"/>
                      <a:pt x="5995" y="24665"/>
                      <a:pt x="5995" y="24665"/>
                    </a:cubicBezTo>
                    <a:cubicBezTo>
                      <a:pt x="5995" y="24665"/>
                      <a:pt x="5995" y="24820"/>
                      <a:pt x="5995" y="24665"/>
                    </a:cubicBezTo>
                    <a:cubicBezTo>
                      <a:pt x="6098" y="24957"/>
                      <a:pt x="5806" y="25284"/>
                      <a:pt x="5857" y="25593"/>
                    </a:cubicBezTo>
                    <a:cubicBezTo>
                      <a:pt x="5857" y="25593"/>
                      <a:pt x="5857" y="25868"/>
                      <a:pt x="5857" y="25919"/>
                    </a:cubicBezTo>
                    <a:cubicBezTo>
                      <a:pt x="5814" y="26294"/>
                      <a:pt x="5476" y="26563"/>
                      <a:pt x="5101" y="26521"/>
                    </a:cubicBezTo>
                    <a:cubicBezTo>
                      <a:pt x="4727" y="26478"/>
                      <a:pt x="4457" y="26140"/>
                      <a:pt x="4500" y="25765"/>
                    </a:cubicBezTo>
                    <a:cubicBezTo>
                      <a:pt x="4500" y="25954"/>
                      <a:pt x="4500" y="26349"/>
                      <a:pt x="4397" y="26658"/>
                    </a:cubicBezTo>
                    <a:lnTo>
                      <a:pt x="4397" y="26658"/>
                    </a:lnTo>
                    <a:cubicBezTo>
                      <a:pt x="4380" y="26726"/>
                      <a:pt x="4380" y="26796"/>
                      <a:pt x="4397" y="26864"/>
                    </a:cubicBezTo>
                    <a:lnTo>
                      <a:pt x="4397" y="26864"/>
                    </a:lnTo>
                    <a:cubicBezTo>
                      <a:pt x="4397" y="26864"/>
                      <a:pt x="4397" y="26864"/>
                      <a:pt x="4397" y="26950"/>
                    </a:cubicBezTo>
                    <a:cubicBezTo>
                      <a:pt x="4397" y="27036"/>
                      <a:pt x="4603" y="27139"/>
                      <a:pt x="4586" y="26950"/>
                    </a:cubicBezTo>
                    <a:cubicBezTo>
                      <a:pt x="4586" y="27053"/>
                      <a:pt x="4586" y="27105"/>
                      <a:pt x="4724" y="27190"/>
                    </a:cubicBezTo>
                    <a:lnTo>
                      <a:pt x="4724" y="27190"/>
                    </a:lnTo>
                    <a:cubicBezTo>
                      <a:pt x="4738" y="27241"/>
                      <a:pt x="4738" y="27295"/>
                      <a:pt x="4724" y="27345"/>
                    </a:cubicBezTo>
                    <a:cubicBezTo>
                      <a:pt x="4724" y="27208"/>
                      <a:pt x="4724" y="27345"/>
                      <a:pt x="4724" y="27448"/>
                    </a:cubicBezTo>
                    <a:lnTo>
                      <a:pt x="4724" y="27448"/>
                    </a:lnTo>
                    <a:cubicBezTo>
                      <a:pt x="4767" y="27681"/>
                      <a:pt x="4767" y="27920"/>
                      <a:pt x="4724" y="28152"/>
                    </a:cubicBezTo>
                    <a:lnTo>
                      <a:pt x="4724" y="28152"/>
                    </a:lnTo>
                    <a:cubicBezTo>
                      <a:pt x="4732" y="28307"/>
                      <a:pt x="4732" y="28462"/>
                      <a:pt x="4724" y="28616"/>
                    </a:cubicBezTo>
                    <a:cubicBezTo>
                      <a:pt x="4724" y="28616"/>
                      <a:pt x="4724" y="28513"/>
                      <a:pt x="4724" y="28444"/>
                    </a:cubicBezTo>
                    <a:cubicBezTo>
                      <a:pt x="4715" y="28564"/>
                      <a:pt x="4715" y="28685"/>
                      <a:pt x="4724" y="28805"/>
                    </a:cubicBezTo>
                    <a:cubicBezTo>
                      <a:pt x="4734" y="28777"/>
                      <a:pt x="4734" y="28747"/>
                      <a:pt x="4724" y="28719"/>
                    </a:cubicBezTo>
                    <a:cubicBezTo>
                      <a:pt x="4697" y="28861"/>
                      <a:pt x="4697" y="29007"/>
                      <a:pt x="4724" y="29149"/>
                    </a:cubicBezTo>
                    <a:cubicBezTo>
                      <a:pt x="4724" y="29063"/>
                      <a:pt x="4947" y="30042"/>
                      <a:pt x="4930" y="29733"/>
                    </a:cubicBezTo>
                    <a:cubicBezTo>
                      <a:pt x="5136" y="30265"/>
                      <a:pt x="5170" y="29131"/>
                      <a:pt x="5634" y="30471"/>
                    </a:cubicBezTo>
                    <a:cubicBezTo>
                      <a:pt x="5634" y="30368"/>
                      <a:pt x="5634" y="29337"/>
                      <a:pt x="5960" y="29595"/>
                    </a:cubicBezTo>
                    <a:cubicBezTo>
                      <a:pt x="5960" y="29818"/>
                      <a:pt x="5960" y="29595"/>
                      <a:pt x="5960" y="29475"/>
                    </a:cubicBezTo>
                    <a:cubicBezTo>
                      <a:pt x="5960" y="29355"/>
                      <a:pt x="6252" y="29303"/>
                      <a:pt x="6355" y="29234"/>
                    </a:cubicBezTo>
                    <a:cubicBezTo>
                      <a:pt x="6476" y="29458"/>
                      <a:pt x="6355" y="29836"/>
                      <a:pt x="6355" y="30145"/>
                    </a:cubicBezTo>
                    <a:cubicBezTo>
                      <a:pt x="6630" y="30901"/>
                      <a:pt x="6355" y="29681"/>
                      <a:pt x="6665" y="29664"/>
                    </a:cubicBezTo>
                    <a:cubicBezTo>
                      <a:pt x="6974" y="29647"/>
                      <a:pt x="6527" y="29544"/>
                      <a:pt x="6665" y="29441"/>
                    </a:cubicBezTo>
                    <a:cubicBezTo>
                      <a:pt x="6802" y="29337"/>
                      <a:pt x="6665" y="29664"/>
                      <a:pt x="6785" y="29733"/>
                    </a:cubicBezTo>
                    <a:cubicBezTo>
                      <a:pt x="6933" y="29741"/>
                      <a:pt x="7051" y="29859"/>
                      <a:pt x="7060" y="30007"/>
                    </a:cubicBezTo>
                    <a:cubicBezTo>
                      <a:pt x="6939" y="30213"/>
                      <a:pt x="7352" y="30145"/>
                      <a:pt x="7472" y="30196"/>
                    </a:cubicBezTo>
                    <a:cubicBezTo>
                      <a:pt x="7558" y="30660"/>
                      <a:pt x="8090" y="30042"/>
                      <a:pt x="8262" y="30402"/>
                    </a:cubicBezTo>
                    <a:cubicBezTo>
                      <a:pt x="8004" y="30402"/>
                      <a:pt x="8073" y="30402"/>
                      <a:pt x="8262" y="30643"/>
                    </a:cubicBezTo>
                    <a:cubicBezTo>
                      <a:pt x="8262" y="30471"/>
                      <a:pt x="8863" y="31107"/>
                      <a:pt x="8434" y="31107"/>
                    </a:cubicBezTo>
                    <a:cubicBezTo>
                      <a:pt x="8885" y="31152"/>
                      <a:pt x="9220" y="31547"/>
                      <a:pt x="9189" y="32000"/>
                    </a:cubicBezTo>
                    <a:cubicBezTo>
                      <a:pt x="9189" y="31673"/>
                      <a:pt x="9550" y="32154"/>
                      <a:pt x="9550" y="32309"/>
                    </a:cubicBezTo>
                    <a:cubicBezTo>
                      <a:pt x="9464" y="32103"/>
                      <a:pt x="10461" y="32309"/>
                      <a:pt x="10220" y="32532"/>
                    </a:cubicBezTo>
                    <a:cubicBezTo>
                      <a:pt x="10443" y="32361"/>
                      <a:pt x="10976" y="33030"/>
                      <a:pt x="10856" y="33151"/>
                    </a:cubicBezTo>
                    <a:cubicBezTo>
                      <a:pt x="11010" y="32893"/>
                      <a:pt x="11130" y="33735"/>
                      <a:pt x="11302" y="33924"/>
                    </a:cubicBezTo>
                    <a:cubicBezTo>
                      <a:pt x="11474" y="34113"/>
                      <a:pt x="10976" y="34559"/>
                      <a:pt x="11045" y="34868"/>
                    </a:cubicBezTo>
                    <a:cubicBezTo>
                      <a:pt x="11045" y="34611"/>
                      <a:pt x="11233" y="34628"/>
                      <a:pt x="11148" y="34868"/>
                    </a:cubicBezTo>
                    <a:cubicBezTo>
                      <a:pt x="11148" y="34868"/>
                      <a:pt x="11268" y="34559"/>
                      <a:pt x="11337" y="34731"/>
                    </a:cubicBezTo>
                    <a:cubicBezTo>
                      <a:pt x="11405" y="34903"/>
                      <a:pt x="11337" y="34731"/>
                      <a:pt x="11337" y="34731"/>
                    </a:cubicBezTo>
                    <a:cubicBezTo>
                      <a:pt x="11337" y="34216"/>
                      <a:pt x="12401" y="35143"/>
                      <a:pt x="11337" y="35092"/>
                    </a:cubicBezTo>
                    <a:cubicBezTo>
                      <a:pt x="11749" y="35092"/>
                      <a:pt x="11543" y="35315"/>
                      <a:pt x="11680" y="35624"/>
                    </a:cubicBezTo>
                    <a:cubicBezTo>
                      <a:pt x="11543" y="35074"/>
                      <a:pt x="12075" y="34576"/>
                      <a:pt x="12419" y="35074"/>
                    </a:cubicBezTo>
                    <a:cubicBezTo>
                      <a:pt x="12419" y="35074"/>
                      <a:pt x="12608" y="35177"/>
                      <a:pt x="12642" y="35263"/>
                    </a:cubicBezTo>
                    <a:cubicBezTo>
                      <a:pt x="12676" y="35349"/>
                      <a:pt x="12986" y="35366"/>
                      <a:pt x="12882" y="35469"/>
                    </a:cubicBezTo>
                    <a:cubicBezTo>
                      <a:pt x="12779" y="35573"/>
                      <a:pt x="12882" y="35727"/>
                      <a:pt x="12968" y="35830"/>
                    </a:cubicBezTo>
                    <a:cubicBezTo>
                      <a:pt x="13054" y="35933"/>
                      <a:pt x="12968" y="35487"/>
                      <a:pt x="12968" y="35710"/>
                    </a:cubicBezTo>
                    <a:cubicBezTo>
                      <a:pt x="12968" y="35555"/>
                      <a:pt x="13106" y="35607"/>
                      <a:pt x="12968" y="35504"/>
                    </a:cubicBezTo>
                    <a:cubicBezTo>
                      <a:pt x="12831" y="35401"/>
                      <a:pt x="13363" y="35761"/>
                      <a:pt x="13363" y="35641"/>
                    </a:cubicBezTo>
                    <a:cubicBezTo>
                      <a:pt x="13363" y="35521"/>
                      <a:pt x="13363" y="35641"/>
                      <a:pt x="13466" y="35744"/>
                    </a:cubicBezTo>
                    <a:cubicBezTo>
                      <a:pt x="13569" y="35847"/>
                      <a:pt x="13466" y="35744"/>
                      <a:pt x="13466" y="35744"/>
                    </a:cubicBezTo>
                    <a:lnTo>
                      <a:pt x="13466" y="35744"/>
                    </a:lnTo>
                    <a:lnTo>
                      <a:pt x="13466" y="35744"/>
                    </a:lnTo>
                    <a:cubicBezTo>
                      <a:pt x="14841" y="36157"/>
                      <a:pt x="16438" y="37462"/>
                      <a:pt x="14926" y="38922"/>
                    </a:cubicBezTo>
                    <a:cubicBezTo>
                      <a:pt x="14926" y="38836"/>
                      <a:pt x="14926" y="38682"/>
                      <a:pt x="14926" y="38819"/>
                    </a:cubicBezTo>
                    <a:cubicBezTo>
                      <a:pt x="14926" y="38956"/>
                      <a:pt x="14823" y="38819"/>
                      <a:pt x="14806" y="38819"/>
                    </a:cubicBezTo>
                    <a:lnTo>
                      <a:pt x="14806" y="38819"/>
                    </a:lnTo>
                    <a:cubicBezTo>
                      <a:pt x="15133" y="39386"/>
                      <a:pt x="15717" y="41619"/>
                      <a:pt x="14806" y="41447"/>
                    </a:cubicBezTo>
                    <a:cubicBezTo>
                      <a:pt x="14806" y="41447"/>
                      <a:pt x="14514" y="41447"/>
                      <a:pt x="14806" y="41447"/>
                    </a:cubicBezTo>
                    <a:cubicBezTo>
                      <a:pt x="15098" y="41447"/>
                      <a:pt x="14652" y="41447"/>
                      <a:pt x="14600" y="41447"/>
                    </a:cubicBezTo>
                    <a:cubicBezTo>
                      <a:pt x="14549" y="41447"/>
                      <a:pt x="14600" y="41533"/>
                      <a:pt x="14600" y="41687"/>
                    </a:cubicBezTo>
                    <a:cubicBezTo>
                      <a:pt x="14360" y="41498"/>
                      <a:pt x="14257" y="41997"/>
                      <a:pt x="14154" y="41962"/>
                    </a:cubicBezTo>
                    <a:cubicBezTo>
                      <a:pt x="14050" y="41928"/>
                      <a:pt x="14154" y="41962"/>
                      <a:pt x="14154" y="41962"/>
                    </a:cubicBezTo>
                    <a:cubicBezTo>
                      <a:pt x="14154" y="41962"/>
                      <a:pt x="14291" y="42048"/>
                      <a:pt x="14154" y="42048"/>
                    </a:cubicBezTo>
                    <a:cubicBezTo>
                      <a:pt x="14016" y="42048"/>
                      <a:pt x="14154" y="42048"/>
                      <a:pt x="14154" y="42048"/>
                    </a:cubicBezTo>
                    <a:cubicBezTo>
                      <a:pt x="14154" y="42048"/>
                      <a:pt x="14446" y="42426"/>
                      <a:pt x="14411" y="42529"/>
                    </a:cubicBezTo>
                    <a:cubicBezTo>
                      <a:pt x="14377" y="42632"/>
                      <a:pt x="14411" y="43697"/>
                      <a:pt x="14411" y="43336"/>
                    </a:cubicBezTo>
                    <a:cubicBezTo>
                      <a:pt x="14411" y="43336"/>
                      <a:pt x="14411" y="43336"/>
                      <a:pt x="14411" y="43250"/>
                    </a:cubicBezTo>
                    <a:cubicBezTo>
                      <a:pt x="14411" y="43165"/>
                      <a:pt x="14411" y="43113"/>
                      <a:pt x="14411" y="43113"/>
                    </a:cubicBezTo>
                    <a:cubicBezTo>
                      <a:pt x="14338" y="43042"/>
                      <a:pt x="14257" y="42979"/>
                      <a:pt x="14171" y="42924"/>
                    </a:cubicBezTo>
                    <a:cubicBezTo>
                      <a:pt x="14231" y="42979"/>
                      <a:pt x="14283" y="43043"/>
                      <a:pt x="14325" y="43113"/>
                    </a:cubicBezTo>
                    <a:cubicBezTo>
                      <a:pt x="14325" y="43113"/>
                      <a:pt x="14446" y="43354"/>
                      <a:pt x="14325" y="43250"/>
                    </a:cubicBezTo>
                    <a:cubicBezTo>
                      <a:pt x="14858" y="44041"/>
                      <a:pt x="14325" y="44264"/>
                      <a:pt x="13844" y="43817"/>
                    </a:cubicBezTo>
                    <a:lnTo>
                      <a:pt x="14549" y="44418"/>
                    </a:lnTo>
                    <a:lnTo>
                      <a:pt x="14549" y="44418"/>
                    </a:lnTo>
                    <a:cubicBezTo>
                      <a:pt x="14637" y="44494"/>
                      <a:pt x="14707" y="44587"/>
                      <a:pt x="14755" y="44693"/>
                    </a:cubicBezTo>
                    <a:lnTo>
                      <a:pt x="14755" y="44693"/>
                    </a:lnTo>
                    <a:cubicBezTo>
                      <a:pt x="14755" y="44693"/>
                      <a:pt x="14944" y="44951"/>
                      <a:pt x="14755" y="44882"/>
                    </a:cubicBezTo>
                    <a:cubicBezTo>
                      <a:pt x="14566" y="44814"/>
                      <a:pt x="14394" y="44882"/>
                      <a:pt x="14291" y="44882"/>
                    </a:cubicBezTo>
                    <a:cubicBezTo>
                      <a:pt x="14188" y="44882"/>
                      <a:pt x="14480" y="45037"/>
                      <a:pt x="14566" y="45123"/>
                    </a:cubicBezTo>
                    <a:lnTo>
                      <a:pt x="14566" y="45123"/>
                    </a:lnTo>
                    <a:cubicBezTo>
                      <a:pt x="14909" y="45466"/>
                      <a:pt x="14995" y="45569"/>
                      <a:pt x="14463" y="45294"/>
                    </a:cubicBezTo>
                    <a:cubicBezTo>
                      <a:pt x="14621" y="45462"/>
                      <a:pt x="14807" y="45602"/>
                      <a:pt x="15012" y="45707"/>
                    </a:cubicBezTo>
                    <a:cubicBezTo>
                      <a:pt x="15012" y="45707"/>
                      <a:pt x="15012" y="45707"/>
                      <a:pt x="15012" y="45707"/>
                    </a:cubicBezTo>
                    <a:lnTo>
                      <a:pt x="15012" y="45707"/>
                    </a:lnTo>
                    <a:cubicBezTo>
                      <a:pt x="15304" y="45930"/>
                      <a:pt x="15133" y="45947"/>
                      <a:pt x="15717" y="46359"/>
                    </a:cubicBezTo>
                    <a:lnTo>
                      <a:pt x="15717" y="46359"/>
                    </a:lnTo>
                    <a:lnTo>
                      <a:pt x="15717" y="46359"/>
                    </a:lnTo>
                    <a:lnTo>
                      <a:pt x="15717" y="46359"/>
                    </a:lnTo>
                    <a:cubicBezTo>
                      <a:pt x="15991" y="46669"/>
                      <a:pt x="16438" y="46737"/>
                      <a:pt x="16730" y="47012"/>
                    </a:cubicBez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730" y="47012"/>
                    </a:lnTo>
                    <a:lnTo>
                      <a:pt x="16885" y="47132"/>
                    </a:lnTo>
                    <a:lnTo>
                      <a:pt x="16885" y="47132"/>
                    </a:lnTo>
                    <a:lnTo>
                      <a:pt x="17091" y="47270"/>
                    </a:lnTo>
                    <a:cubicBezTo>
                      <a:pt x="17091" y="47270"/>
                      <a:pt x="17091" y="47270"/>
                      <a:pt x="16988" y="47270"/>
                    </a:cubicBezTo>
                    <a:cubicBezTo>
                      <a:pt x="17278" y="47454"/>
                      <a:pt x="17582" y="47614"/>
                      <a:pt x="17898" y="47751"/>
                    </a:cubicBezTo>
                    <a:lnTo>
                      <a:pt x="17898" y="47751"/>
                    </a:lnTo>
                    <a:cubicBezTo>
                      <a:pt x="17795" y="47751"/>
                      <a:pt x="17898" y="47751"/>
                      <a:pt x="17898" y="47751"/>
                    </a:cubicBezTo>
                    <a:lnTo>
                      <a:pt x="17898" y="47751"/>
                    </a:lnTo>
                    <a:cubicBezTo>
                      <a:pt x="18059" y="47847"/>
                      <a:pt x="18225" y="47933"/>
                      <a:pt x="18396" y="48008"/>
                    </a:cubicBezTo>
                    <a:lnTo>
                      <a:pt x="18173" y="48008"/>
                    </a:lnTo>
                    <a:close/>
                    <a:moveTo>
                      <a:pt x="20560" y="10117"/>
                    </a:moveTo>
                    <a:cubicBezTo>
                      <a:pt x="20286" y="10409"/>
                      <a:pt x="20560" y="10014"/>
                      <a:pt x="20560" y="9980"/>
                    </a:cubicBezTo>
                    <a:cubicBezTo>
                      <a:pt x="20560" y="9945"/>
                      <a:pt x="20423" y="10134"/>
                      <a:pt x="20286" y="10323"/>
                    </a:cubicBezTo>
                    <a:cubicBezTo>
                      <a:pt x="19822" y="10083"/>
                      <a:pt x="19581" y="10976"/>
                      <a:pt x="19289" y="10907"/>
                    </a:cubicBezTo>
                    <a:cubicBezTo>
                      <a:pt x="19530" y="11165"/>
                      <a:pt x="19100" y="10907"/>
                      <a:pt x="19152" y="11165"/>
                    </a:cubicBezTo>
                    <a:cubicBezTo>
                      <a:pt x="19014" y="10959"/>
                      <a:pt x="19152" y="11165"/>
                      <a:pt x="19152" y="11165"/>
                    </a:cubicBezTo>
                    <a:cubicBezTo>
                      <a:pt x="19152" y="10907"/>
                      <a:pt x="19152" y="11457"/>
                      <a:pt x="18997" y="11165"/>
                    </a:cubicBezTo>
                    <a:cubicBezTo>
                      <a:pt x="18688" y="11165"/>
                      <a:pt x="18997" y="11577"/>
                      <a:pt x="18585" y="11577"/>
                    </a:cubicBezTo>
                    <a:cubicBezTo>
                      <a:pt x="18585" y="11577"/>
                      <a:pt x="18327" y="12024"/>
                      <a:pt x="18259" y="11903"/>
                    </a:cubicBezTo>
                    <a:cubicBezTo>
                      <a:pt x="18190" y="11783"/>
                      <a:pt x="17846" y="12453"/>
                      <a:pt x="18001" y="12109"/>
                    </a:cubicBezTo>
                    <a:cubicBezTo>
                      <a:pt x="17537" y="12401"/>
                      <a:pt x="18104" y="11938"/>
                      <a:pt x="17743" y="12006"/>
                    </a:cubicBezTo>
                    <a:cubicBezTo>
                      <a:pt x="18173" y="11680"/>
                      <a:pt x="18070" y="11749"/>
                      <a:pt x="17503" y="11783"/>
                    </a:cubicBezTo>
                    <a:cubicBezTo>
                      <a:pt x="17588" y="11313"/>
                      <a:pt x="17763" y="10864"/>
                      <a:pt x="18018" y="10461"/>
                    </a:cubicBezTo>
                    <a:cubicBezTo>
                      <a:pt x="18018" y="10220"/>
                      <a:pt x="18224" y="10461"/>
                      <a:pt x="18448" y="10134"/>
                    </a:cubicBezTo>
                    <a:cubicBezTo>
                      <a:pt x="17984" y="10306"/>
                      <a:pt x="17984" y="10134"/>
                      <a:pt x="18448" y="9739"/>
                    </a:cubicBezTo>
                    <a:cubicBezTo>
                      <a:pt x="18345" y="9739"/>
                      <a:pt x="18207" y="9739"/>
                      <a:pt x="18345" y="9739"/>
                    </a:cubicBezTo>
                    <a:cubicBezTo>
                      <a:pt x="18482" y="9739"/>
                      <a:pt x="18345" y="9636"/>
                      <a:pt x="18963" y="9344"/>
                    </a:cubicBezTo>
                    <a:cubicBezTo>
                      <a:pt x="17709" y="9808"/>
                      <a:pt x="19392" y="8966"/>
                      <a:pt x="18774" y="9104"/>
                    </a:cubicBezTo>
                    <a:cubicBezTo>
                      <a:pt x="19272" y="8657"/>
                      <a:pt x="19152" y="9293"/>
                      <a:pt x="19324" y="9104"/>
                    </a:cubicBezTo>
                    <a:cubicBezTo>
                      <a:pt x="18997" y="9104"/>
                      <a:pt x="19667" y="8863"/>
                      <a:pt x="19324" y="8966"/>
                    </a:cubicBezTo>
                    <a:cubicBezTo>
                      <a:pt x="19444" y="8846"/>
                      <a:pt x="19169" y="8966"/>
                      <a:pt x="18946" y="8966"/>
                    </a:cubicBezTo>
                    <a:cubicBezTo>
                      <a:pt x="19427" y="8537"/>
                      <a:pt x="19238" y="9086"/>
                      <a:pt x="19598" y="8674"/>
                    </a:cubicBezTo>
                    <a:cubicBezTo>
                      <a:pt x="19289" y="8846"/>
                      <a:pt x="19341" y="8554"/>
                      <a:pt x="19598" y="8674"/>
                    </a:cubicBezTo>
                    <a:cubicBezTo>
                      <a:pt x="19808" y="8533"/>
                      <a:pt x="20004" y="8372"/>
                      <a:pt x="20182" y="8193"/>
                    </a:cubicBezTo>
                    <a:cubicBezTo>
                      <a:pt x="19994" y="8193"/>
                      <a:pt x="20182" y="7266"/>
                      <a:pt x="20354" y="7953"/>
                    </a:cubicBezTo>
                    <a:cubicBezTo>
                      <a:pt x="20354" y="7953"/>
                      <a:pt x="20509" y="7712"/>
                      <a:pt x="20560" y="7764"/>
                    </a:cubicBezTo>
                    <a:cubicBezTo>
                      <a:pt x="20612" y="7815"/>
                      <a:pt x="21144" y="6991"/>
                      <a:pt x="20681" y="7386"/>
                    </a:cubicBezTo>
                    <a:cubicBezTo>
                      <a:pt x="20217" y="7781"/>
                      <a:pt x="21162" y="6922"/>
                      <a:pt x="21746" y="6338"/>
                    </a:cubicBezTo>
                    <a:cubicBezTo>
                      <a:pt x="23154" y="5256"/>
                      <a:pt x="21746" y="5497"/>
                      <a:pt x="22914" y="4981"/>
                    </a:cubicBezTo>
                    <a:cubicBezTo>
                      <a:pt x="23085" y="4981"/>
                      <a:pt x="23206" y="5067"/>
                      <a:pt x="23326" y="4844"/>
                    </a:cubicBezTo>
                    <a:cubicBezTo>
                      <a:pt x="26332" y="3556"/>
                      <a:pt x="25576" y="4260"/>
                      <a:pt x="26761" y="3693"/>
                    </a:cubicBezTo>
                    <a:cubicBezTo>
                      <a:pt x="26418" y="3882"/>
                      <a:pt x="26761" y="3693"/>
                      <a:pt x="26881" y="3693"/>
                    </a:cubicBezTo>
                    <a:cubicBezTo>
                      <a:pt x="26503" y="3951"/>
                      <a:pt x="26710" y="3693"/>
                      <a:pt x="26607" y="3951"/>
                    </a:cubicBezTo>
                    <a:cubicBezTo>
                      <a:pt x="26761" y="4140"/>
                      <a:pt x="25765" y="4243"/>
                      <a:pt x="26211" y="4208"/>
                    </a:cubicBezTo>
                    <a:cubicBezTo>
                      <a:pt x="26658" y="4174"/>
                      <a:pt x="26057" y="4346"/>
                      <a:pt x="26211" y="4329"/>
                    </a:cubicBezTo>
                    <a:cubicBezTo>
                      <a:pt x="26555" y="4054"/>
                      <a:pt x="26211" y="4483"/>
                      <a:pt x="26074" y="4500"/>
                    </a:cubicBezTo>
                    <a:cubicBezTo>
                      <a:pt x="25284" y="5119"/>
                      <a:pt x="27036" y="3744"/>
                      <a:pt x="26383" y="4621"/>
                    </a:cubicBezTo>
                    <a:cubicBezTo>
                      <a:pt x="26108" y="4844"/>
                      <a:pt x="25816" y="4861"/>
                      <a:pt x="26057" y="4947"/>
                    </a:cubicBezTo>
                    <a:cubicBezTo>
                      <a:pt x="25672" y="5283"/>
                      <a:pt x="25406" y="5735"/>
                      <a:pt x="25301" y="6235"/>
                    </a:cubicBezTo>
                    <a:cubicBezTo>
                      <a:pt x="25198" y="5874"/>
                      <a:pt x="24751" y="6424"/>
                      <a:pt x="25112" y="6373"/>
                    </a:cubicBezTo>
                    <a:cubicBezTo>
                      <a:pt x="24837" y="6596"/>
                      <a:pt x="25112" y="6373"/>
                      <a:pt x="25009" y="6596"/>
                    </a:cubicBezTo>
                    <a:cubicBezTo>
                      <a:pt x="24906" y="6819"/>
                      <a:pt x="24837" y="6596"/>
                      <a:pt x="24751" y="6596"/>
                    </a:cubicBezTo>
                    <a:cubicBezTo>
                      <a:pt x="24666" y="6596"/>
                      <a:pt x="24751" y="6957"/>
                      <a:pt x="24751" y="6768"/>
                    </a:cubicBezTo>
                    <a:cubicBezTo>
                      <a:pt x="24751" y="6871"/>
                      <a:pt x="25061" y="7128"/>
                      <a:pt x="24751" y="7180"/>
                    </a:cubicBezTo>
                    <a:cubicBezTo>
                      <a:pt x="24271" y="6750"/>
                      <a:pt x="24751" y="7575"/>
                      <a:pt x="24442" y="7489"/>
                    </a:cubicBezTo>
                    <a:cubicBezTo>
                      <a:pt x="23961" y="7729"/>
                      <a:pt x="24442" y="7060"/>
                      <a:pt x="24133" y="7489"/>
                    </a:cubicBezTo>
                    <a:cubicBezTo>
                      <a:pt x="24133" y="7283"/>
                      <a:pt x="23807" y="7609"/>
                      <a:pt x="23738" y="7626"/>
                    </a:cubicBezTo>
                    <a:cubicBezTo>
                      <a:pt x="24150" y="7626"/>
                      <a:pt x="23738" y="7764"/>
                      <a:pt x="23738" y="7781"/>
                    </a:cubicBezTo>
                    <a:cubicBezTo>
                      <a:pt x="24236" y="7781"/>
                      <a:pt x="23738" y="7918"/>
                      <a:pt x="23824" y="7987"/>
                    </a:cubicBezTo>
                    <a:cubicBezTo>
                      <a:pt x="24442" y="8090"/>
                      <a:pt x="23515" y="9705"/>
                      <a:pt x="23583" y="8262"/>
                    </a:cubicBezTo>
                    <a:cubicBezTo>
                      <a:pt x="23034" y="7901"/>
                      <a:pt x="23978" y="8657"/>
                      <a:pt x="23137" y="8520"/>
                    </a:cubicBezTo>
                    <a:cubicBezTo>
                      <a:pt x="23291" y="8640"/>
                      <a:pt x="22673" y="8777"/>
                      <a:pt x="22931" y="8726"/>
                    </a:cubicBezTo>
                    <a:cubicBezTo>
                      <a:pt x="23188" y="8674"/>
                      <a:pt x="23326" y="8915"/>
                      <a:pt x="22931" y="8846"/>
                    </a:cubicBezTo>
                    <a:cubicBezTo>
                      <a:pt x="22536" y="8777"/>
                      <a:pt x="24082" y="8846"/>
                      <a:pt x="23446" y="9121"/>
                    </a:cubicBezTo>
                    <a:cubicBezTo>
                      <a:pt x="23446" y="9121"/>
                      <a:pt x="23171" y="9327"/>
                      <a:pt x="23137" y="9275"/>
                    </a:cubicBezTo>
                    <a:cubicBezTo>
                      <a:pt x="23103" y="9224"/>
                      <a:pt x="21866" y="9859"/>
                      <a:pt x="21952" y="9396"/>
                    </a:cubicBezTo>
                    <a:cubicBezTo>
                      <a:pt x="22038" y="8932"/>
                      <a:pt x="21952" y="9636"/>
                      <a:pt x="21831" y="9653"/>
                    </a:cubicBezTo>
                    <a:cubicBezTo>
                      <a:pt x="21385" y="9688"/>
                      <a:pt x="20612" y="10529"/>
                      <a:pt x="20560" y="10117"/>
                    </a:cubicBezTo>
                    <a:close/>
                    <a:moveTo>
                      <a:pt x="23669" y="11440"/>
                    </a:moveTo>
                    <a:cubicBezTo>
                      <a:pt x="23669" y="11577"/>
                      <a:pt x="23463" y="11543"/>
                      <a:pt x="23412" y="11440"/>
                    </a:cubicBezTo>
                    <a:cubicBezTo>
                      <a:pt x="23360" y="11337"/>
                      <a:pt x="23223" y="11440"/>
                      <a:pt x="23274" y="11319"/>
                    </a:cubicBezTo>
                    <a:cubicBezTo>
                      <a:pt x="23326" y="11199"/>
                      <a:pt x="23188" y="11319"/>
                      <a:pt x="23274" y="11319"/>
                    </a:cubicBezTo>
                    <a:cubicBezTo>
                      <a:pt x="23173" y="11345"/>
                      <a:pt x="23067" y="11345"/>
                      <a:pt x="22965" y="11319"/>
                    </a:cubicBezTo>
                    <a:cubicBezTo>
                      <a:pt x="22965" y="11319"/>
                      <a:pt x="22965" y="11319"/>
                      <a:pt x="22965" y="11319"/>
                    </a:cubicBezTo>
                    <a:cubicBezTo>
                      <a:pt x="22965" y="11319"/>
                      <a:pt x="22965" y="11319"/>
                      <a:pt x="22965" y="11233"/>
                    </a:cubicBezTo>
                    <a:cubicBezTo>
                      <a:pt x="22965" y="11148"/>
                      <a:pt x="22965" y="11233"/>
                      <a:pt x="22965" y="11233"/>
                    </a:cubicBezTo>
                    <a:cubicBezTo>
                      <a:pt x="22965" y="11233"/>
                      <a:pt x="23120" y="11096"/>
                      <a:pt x="23206" y="11148"/>
                    </a:cubicBezTo>
                    <a:cubicBezTo>
                      <a:pt x="23291" y="11199"/>
                      <a:pt x="22948" y="11251"/>
                      <a:pt x="23206" y="11027"/>
                    </a:cubicBezTo>
                    <a:cubicBezTo>
                      <a:pt x="23206" y="11113"/>
                      <a:pt x="23051" y="11027"/>
                      <a:pt x="23206" y="10941"/>
                    </a:cubicBezTo>
                    <a:cubicBezTo>
                      <a:pt x="23360" y="10856"/>
                      <a:pt x="22948" y="10941"/>
                      <a:pt x="22948" y="10821"/>
                    </a:cubicBezTo>
                    <a:cubicBezTo>
                      <a:pt x="22948" y="10701"/>
                      <a:pt x="23206" y="10735"/>
                      <a:pt x="23223" y="10821"/>
                    </a:cubicBezTo>
                    <a:cubicBezTo>
                      <a:pt x="23240" y="10907"/>
                      <a:pt x="23395" y="10821"/>
                      <a:pt x="23412" y="10718"/>
                    </a:cubicBezTo>
                    <a:cubicBezTo>
                      <a:pt x="23429" y="10615"/>
                      <a:pt x="23291" y="10718"/>
                      <a:pt x="23412" y="10718"/>
                    </a:cubicBezTo>
                    <a:cubicBezTo>
                      <a:pt x="23532" y="10718"/>
                      <a:pt x="23291" y="10718"/>
                      <a:pt x="23412" y="10632"/>
                    </a:cubicBezTo>
                    <a:cubicBezTo>
                      <a:pt x="23532" y="10546"/>
                      <a:pt x="23412" y="10632"/>
                      <a:pt x="23412" y="10632"/>
                    </a:cubicBezTo>
                    <a:cubicBezTo>
                      <a:pt x="23412" y="10632"/>
                      <a:pt x="23412" y="10718"/>
                      <a:pt x="23412" y="10632"/>
                    </a:cubicBezTo>
                    <a:cubicBezTo>
                      <a:pt x="23412" y="10546"/>
                      <a:pt x="23412" y="10632"/>
                      <a:pt x="23412" y="10632"/>
                    </a:cubicBezTo>
                    <a:cubicBezTo>
                      <a:pt x="23223" y="10873"/>
                      <a:pt x="23120" y="10478"/>
                      <a:pt x="23291" y="10632"/>
                    </a:cubicBezTo>
                    <a:cubicBezTo>
                      <a:pt x="23463" y="10787"/>
                      <a:pt x="23291" y="10478"/>
                      <a:pt x="23291" y="10632"/>
                    </a:cubicBezTo>
                    <a:cubicBezTo>
                      <a:pt x="23291" y="10787"/>
                      <a:pt x="23291" y="10632"/>
                      <a:pt x="23291" y="10632"/>
                    </a:cubicBezTo>
                    <a:cubicBezTo>
                      <a:pt x="23291" y="10632"/>
                      <a:pt x="23291" y="10529"/>
                      <a:pt x="23291" y="10632"/>
                    </a:cubicBezTo>
                    <a:cubicBezTo>
                      <a:pt x="23291" y="10735"/>
                      <a:pt x="23291" y="10478"/>
                      <a:pt x="23291" y="10632"/>
                    </a:cubicBezTo>
                    <a:cubicBezTo>
                      <a:pt x="23291" y="10787"/>
                      <a:pt x="23412" y="10632"/>
                      <a:pt x="23291" y="10632"/>
                    </a:cubicBezTo>
                    <a:cubicBezTo>
                      <a:pt x="23171" y="10632"/>
                      <a:pt x="23395" y="10632"/>
                      <a:pt x="23291" y="10632"/>
                    </a:cubicBezTo>
                    <a:cubicBezTo>
                      <a:pt x="23188" y="10632"/>
                      <a:pt x="23120" y="10478"/>
                      <a:pt x="23291" y="10478"/>
                    </a:cubicBezTo>
                    <a:cubicBezTo>
                      <a:pt x="22999" y="10375"/>
                      <a:pt x="23395" y="10375"/>
                      <a:pt x="23291" y="10581"/>
                    </a:cubicBezTo>
                    <a:cubicBezTo>
                      <a:pt x="23291" y="10581"/>
                      <a:pt x="23291" y="10581"/>
                      <a:pt x="23291" y="10581"/>
                    </a:cubicBezTo>
                    <a:cubicBezTo>
                      <a:pt x="23291" y="10581"/>
                      <a:pt x="23291" y="10701"/>
                      <a:pt x="23291" y="10581"/>
                    </a:cubicBezTo>
                    <a:cubicBezTo>
                      <a:pt x="23302" y="10608"/>
                      <a:pt x="23302" y="10639"/>
                      <a:pt x="23291" y="10667"/>
                    </a:cubicBezTo>
                    <a:cubicBezTo>
                      <a:pt x="23291" y="10667"/>
                      <a:pt x="23291" y="10753"/>
                      <a:pt x="23291" y="10787"/>
                    </a:cubicBezTo>
                    <a:cubicBezTo>
                      <a:pt x="23291" y="10821"/>
                      <a:pt x="23291" y="10787"/>
                      <a:pt x="23291" y="10873"/>
                    </a:cubicBezTo>
                    <a:cubicBezTo>
                      <a:pt x="23311" y="10799"/>
                      <a:pt x="23361" y="10737"/>
                      <a:pt x="23429" y="10701"/>
                    </a:cubicBezTo>
                    <a:cubicBezTo>
                      <a:pt x="23429" y="10907"/>
                      <a:pt x="23429" y="10478"/>
                      <a:pt x="23601" y="10461"/>
                    </a:cubicBezTo>
                    <a:cubicBezTo>
                      <a:pt x="23772" y="10443"/>
                      <a:pt x="23601" y="10581"/>
                      <a:pt x="23601" y="10598"/>
                    </a:cubicBezTo>
                    <a:cubicBezTo>
                      <a:pt x="23601" y="10615"/>
                      <a:pt x="23687" y="10461"/>
                      <a:pt x="23790" y="10478"/>
                    </a:cubicBezTo>
                    <a:cubicBezTo>
                      <a:pt x="23832" y="10576"/>
                      <a:pt x="23832" y="10688"/>
                      <a:pt x="23790" y="10787"/>
                    </a:cubicBezTo>
                    <a:cubicBezTo>
                      <a:pt x="23893" y="10701"/>
                      <a:pt x="23790" y="10461"/>
                      <a:pt x="23961" y="10512"/>
                    </a:cubicBezTo>
                    <a:cubicBezTo>
                      <a:pt x="24133" y="10564"/>
                      <a:pt x="24116" y="10375"/>
                      <a:pt x="24099" y="10512"/>
                    </a:cubicBezTo>
                    <a:cubicBezTo>
                      <a:pt x="24082" y="10649"/>
                      <a:pt x="24356" y="10220"/>
                      <a:pt x="24322" y="10512"/>
                    </a:cubicBezTo>
                    <a:cubicBezTo>
                      <a:pt x="24288" y="10804"/>
                      <a:pt x="24442" y="10357"/>
                      <a:pt x="24528" y="10512"/>
                    </a:cubicBezTo>
                    <a:cubicBezTo>
                      <a:pt x="24614" y="10667"/>
                      <a:pt x="24356" y="10667"/>
                      <a:pt x="24528" y="10632"/>
                    </a:cubicBezTo>
                    <a:cubicBezTo>
                      <a:pt x="24700" y="10598"/>
                      <a:pt x="24425" y="10632"/>
                      <a:pt x="24528" y="10804"/>
                    </a:cubicBezTo>
                    <a:cubicBezTo>
                      <a:pt x="24631" y="10976"/>
                      <a:pt x="24528" y="10804"/>
                      <a:pt x="24528" y="10804"/>
                    </a:cubicBezTo>
                    <a:cubicBezTo>
                      <a:pt x="24751" y="10804"/>
                      <a:pt x="24614" y="10804"/>
                      <a:pt x="24528" y="10924"/>
                    </a:cubicBezTo>
                    <a:cubicBezTo>
                      <a:pt x="24442" y="11045"/>
                      <a:pt x="24528" y="11079"/>
                      <a:pt x="24528" y="11148"/>
                    </a:cubicBezTo>
                    <a:cubicBezTo>
                      <a:pt x="24374" y="10924"/>
                      <a:pt x="24528" y="11440"/>
                      <a:pt x="24288" y="11148"/>
                    </a:cubicBezTo>
                    <a:cubicBezTo>
                      <a:pt x="24288" y="11268"/>
                      <a:pt x="24064" y="11268"/>
                      <a:pt x="23978" y="11388"/>
                    </a:cubicBezTo>
                    <a:lnTo>
                      <a:pt x="23978" y="11388"/>
                    </a:lnTo>
                    <a:cubicBezTo>
                      <a:pt x="23978" y="11388"/>
                      <a:pt x="23841" y="11388"/>
                      <a:pt x="23790" y="11388"/>
                    </a:cubicBezTo>
                    <a:cubicBezTo>
                      <a:pt x="23738" y="11388"/>
                      <a:pt x="23790" y="11388"/>
                      <a:pt x="23790" y="11388"/>
                    </a:cubicBezTo>
                    <a:cubicBezTo>
                      <a:pt x="23790" y="11388"/>
                      <a:pt x="23738" y="11594"/>
                      <a:pt x="23669" y="11440"/>
                    </a:cubicBezTo>
                    <a:close/>
                    <a:moveTo>
                      <a:pt x="38184" y="41533"/>
                    </a:moveTo>
                    <a:cubicBezTo>
                      <a:pt x="38063" y="41224"/>
                      <a:pt x="38579" y="40880"/>
                      <a:pt x="38802" y="40640"/>
                    </a:cubicBezTo>
                    <a:cubicBezTo>
                      <a:pt x="39025" y="40399"/>
                      <a:pt x="39025" y="39729"/>
                      <a:pt x="39540" y="39523"/>
                    </a:cubicBezTo>
                    <a:lnTo>
                      <a:pt x="39540" y="39523"/>
                    </a:lnTo>
                    <a:cubicBezTo>
                      <a:pt x="39540" y="39523"/>
                      <a:pt x="39540" y="39523"/>
                      <a:pt x="39540" y="39523"/>
                    </a:cubicBezTo>
                    <a:cubicBezTo>
                      <a:pt x="39540" y="39523"/>
                      <a:pt x="39644" y="39523"/>
                      <a:pt x="39781" y="39386"/>
                    </a:cubicBezTo>
                    <a:cubicBezTo>
                      <a:pt x="39661" y="39678"/>
                      <a:pt x="40073" y="39077"/>
                      <a:pt x="39953" y="39386"/>
                    </a:cubicBezTo>
                    <a:cubicBezTo>
                      <a:pt x="39832" y="39695"/>
                      <a:pt x="39953" y="39386"/>
                      <a:pt x="39953" y="39386"/>
                    </a:cubicBezTo>
                    <a:cubicBezTo>
                      <a:pt x="39953" y="39386"/>
                      <a:pt x="39953" y="39386"/>
                      <a:pt x="39953" y="39248"/>
                    </a:cubicBezTo>
                    <a:cubicBezTo>
                      <a:pt x="39953" y="39111"/>
                      <a:pt x="40073" y="39248"/>
                      <a:pt x="39953" y="39248"/>
                    </a:cubicBezTo>
                    <a:lnTo>
                      <a:pt x="39953" y="39248"/>
                    </a:lnTo>
                    <a:cubicBezTo>
                      <a:pt x="39953" y="39248"/>
                      <a:pt x="39953" y="39248"/>
                      <a:pt x="39953" y="39369"/>
                    </a:cubicBezTo>
                    <a:cubicBezTo>
                      <a:pt x="39953" y="39489"/>
                      <a:pt x="40090" y="39197"/>
                      <a:pt x="40107" y="39266"/>
                    </a:cubicBezTo>
                    <a:cubicBezTo>
                      <a:pt x="40124" y="39334"/>
                      <a:pt x="40107" y="39266"/>
                      <a:pt x="40107" y="39145"/>
                    </a:cubicBezTo>
                    <a:cubicBezTo>
                      <a:pt x="40107" y="39025"/>
                      <a:pt x="40262" y="39145"/>
                      <a:pt x="40107" y="39042"/>
                    </a:cubicBezTo>
                    <a:cubicBezTo>
                      <a:pt x="39953" y="38939"/>
                      <a:pt x="40107" y="39145"/>
                      <a:pt x="40262" y="38939"/>
                    </a:cubicBezTo>
                    <a:cubicBezTo>
                      <a:pt x="40416" y="38733"/>
                      <a:pt x="40537" y="38733"/>
                      <a:pt x="40485" y="38561"/>
                    </a:cubicBezTo>
                    <a:cubicBezTo>
                      <a:pt x="40434" y="38389"/>
                      <a:pt x="40588" y="38561"/>
                      <a:pt x="40674" y="38441"/>
                    </a:cubicBezTo>
                    <a:cubicBezTo>
                      <a:pt x="40760" y="38321"/>
                      <a:pt x="40674" y="38664"/>
                      <a:pt x="40674" y="38664"/>
                    </a:cubicBezTo>
                    <a:cubicBezTo>
                      <a:pt x="41344" y="38922"/>
                      <a:pt x="37514" y="43560"/>
                      <a:pt x="38184" y="41533"/>
                    </a:cubicBezTo>
                    <a:close/>
                    <a:moveTo>
                      <a:pt x="49159" y="26589"/>
                    </a:moveTo>
                    <a:cubicBezTo>
                      <a:pt x="49159" y="26589"/>
                      <a:pt x="49159" y="26589"/>
                      <a:pt x="49159" y="26589"/>
                    </a:cubicBezTo>
                    <a:cubicBezTo>
                      <a:pt x="48810" y="27921"/>
                      <a:pt x="48552" y="29276"/>
                      <a:pt x="48386" y="30643"/>
                    </a:cubicBezTo>
                    <a:cubicBezTo>
                      <a:pt x="48386" y="30540"/>
                      <a:pt x="48215" y="30780"/>
                      <a:pt x="48215" y="30849"/>
                    </a:cubicBezTo>
                    <a:cubicBezTo>
                      <a:pt x="48026" y="31570"/>
                      <a:pt x="47579" y="26864"/>
                      <a:pt x="47613" y="26452"/>
                    </a:cubicBezTo>
                    <a:cubicBezTo>
                      <a:pt x="47459" y="26452"/>
                      <a:pt x="47613" y="26263"/>
                      <a:pt x="47613" y="26160"/>
                    </a:cubicBezTo>
                    <a:cubicBezTo>
                      <a:pt x="47613" y="26057"/>
                      <a:pt x="47528" y="26160"/>
                      <a:pt x="47528" y="26160"/>
                    </a:cubicBezTo>
                    <a:cubicBezTo>
                      <a:pt x="47528" y="26555"/>
                      <a:pt x="47373" y="27362"/>
                      <a:pt x="47098" y="26606"/>
                    </a:cubicBezTo>
                    <a:cubicBezTo>
                      <a:pt x="47098" y="26606"/>
                      <a:pt x="46909" y="26332"/>
                      <a:pt x="46995" y="26383"/>
                    </a:cubicBezTo>
                    <a:lnTo>
                      <a:pt x="46995" y="26383"/>
                    </a:lnTo>
                    <a:cubicBezTo>
                      <a:pt x="46995" y="26538"/>
                      <a:pt x="46995" y="26383"/>
                      <a:pt x="46995" y="26383"/>
                    </a:cubicBezTo>
                    <a:cubicBezTo>
                      <a:pt x="46995" y="26383"/>
                      <a:pt x="47201" y="26074"/>
                      <a:pt x="47081" y="26040"/>
                    </a:cubicBezTo>
                    <a:cubicBezTo>
                      <a:pt x="47081" y="26383"/>
                      <a:pt x="46583" y="26040"/>
                      <a:pt x="46806" y="25833"/>
                    </a:cubicBezTo>
                    <a:cubicBezTo>
                      <a:pt x="46806" y="25833"/>
                      <a:pt x="46806" y="25937"/>
                      <a:pt x="46686" y="25971"/>
                    </a:cubicBezTo>
                    <a:cubicBezTo>
                      <a:pt x="46566" y="26005"/>
                      <a:pt x="46686" y="25885"/>
                      <a:pt x="46549" y="25971"/>
                    </a:cubicBezTo>
                    <a:cubicBezTo>
                      <a:pt x="46411" y="26057"/>
                      <a:pt x="46549" y="25696"/>
                      <a:pt x="46428" y="25559"/>
                    </a:cubicBezTo>
                    <a:cubicBezTo>
                      <a:pt x="46239" y="25730"/>
                      <a:pt x="46428" y="25318"/>
                      <a:pt x="46119" y="25438"/>
                    </a:cubicBezTo>
                    <a:cubicBezTo>
                      <a:pt x="46119" y="25438"/>
                      <a:pt x="45965" y="25524"/>
                      <a:pt x="45913" y="25610"/>
                    </a:cubicBezTo>
                    <a:cubicBezTo>
                      <a:pt x="45861" y="25696"/>
                      <a:pt x="45810" y="25610"/>
                      <a:pt x="45741" y="25610"/>
                    </a:cubicBezTo>
                    <a:cubicBezTo>
                      <a:pt x="45673" y="25610"/>
                      <a:pt x="45604" y="25610"/>
                      <a:pt x="45552" y="25765"/>
                    </a:cubicBezTo>
                    <a:cubicBezTo>
                      <a:pt x="45501" y="25919"/>
                      <a:pt x="45552" y="25765"/>
                      <a:pt x="45432" y="25765"/>
                    </a:cubicBezTo>
                    <a:cubicBezTo>
                      <a:pt x="45312" y="25765"/>
                      <a:pt x="45260" y="25885"/>
                      <a:pt x="45209" y="25679"/>
                    </a:cubicBezTo>
                    <a:cubicBezTo>
                      <a:pt x="45209" y="25782"/>
                      <a:pt x="44814" y="25679"/>
                      <a:pt x="44728" y="25679"/>
                    </a:cubicBezTo>
                    <a:cubicBezTo>
                      <a:pt x="44642" y="25679"/>
                      <a:pt x="44573" y="25679"/>
                      <a:pt x="44453" y="25679"/>
                    </a:cubicBezTo>
                    <a:cubicBezTo>
                      <a:pt x="44178" y="24683"/>
                      <a:pt x="44144" y="25541"/>
                      <a:pt x="43663" y="25404"/>
                    </a:cubicBezTo>
                    <a:cubicBezTo>
                      <a:pt x="43560" y="25404"/>
                      <a:pt x="43251" y="25284"/>
                      <a:pt x="43285" y="25146"/>
                    </a:cubicBezTo>
                    <a:cubicBezTo>
                      <a:pt x="43319" y="25009"/>
                      <a:pt x="42838" y="25146"/>
                      <a:pt x="42804" y="24803"/>
                    </a:cubicBezTo>
                    <a:cubicBezTo>
                      <a:pt x="42804" y="24803"/>
                      <a:pt x="42684" y="24803"/>
                      <a:pt x="42804" y="24803"/>
                    </a:cubicBezTo>
                    <a:cubicBezTo>
                      <a:pt x="42632" y="24803"/>
                      <a:pt x="42564" y="24185"/>
                      <a:pt x="42375" y="24425"/>
                    </a:cubicBezTo>
                    <a:cubicBezTo>
                      <a:pt x="42375" y="24339"/>
                      <a:pt x="42220" y="24425"/>
                      <a:pt x="42272" y="24270"/>
                    </a:cubicBezTo>
                    <a:cubicBezTo>
                      <a:pt x="42323" y="24116"/>
                      <a:pt x="42272" y="24270"/>
                      <a:pt x="42272" y="24270"/>
                    </a:cubicBezTo>
                    <a:cubicBezTo>
                      <a:pt x="42272" y="24270"/>
                      <a:pt x="42272" y="24494"/>
                      <a:pt x="42272" y="24270"/>
                    </a:cubicBezTo>
                    <a:cubicBezTo>
                      <a:pt x="42272" y="24047"/>
                      <a:pt x="42272" y="24580"/>
                      <a:pt x="42100" y="24597"/>
                    </a:cubicBezTo>
                    <a:lnTo>
                      <a:pt x="42220" y="24597"/>
                    </a:lnTo>
                    <a:lnTo>
                      <a:pt x="42220" y="24597"/>
                    </a:lnTo>
                    <a:cubicBezTo>
                      <a:pt x="42220" y="24597"/>
                      <a:pt x="42220" y="24700"/>
                      <a:pt x="42220" y="24734"/>
                    </a:cubicBezTo>
                    <a:cubicBezTo>
                      <a:pt x="42220" y="24769"/>
                      <a:pt x="42220" y="24837"/>
                      <a:pt x="42220" y="24734"/>
                    </a:cubicBezTo>
                    <a:cubicBezTo>
                      <a:pt x="42259" y="24896"/>
                      <a:pt x="42365" y="25033"/>
                      <a:pt x="42512" y="25112"/>
                    </a:cubicBezTo>
                    <a:cubicBezTo>
                      <a:pt x="42512" y="25112"/>
                      <a:pt x="42821" y="25438"/>
                      <a:pt x="42770" y="25610"/>
                    </a:cubicBezTo>
                    <a:lnTo>
                      <a:pt x="42770" y="25610"/>
                    </a:lnTo>
                    <a:cubicBezTo>
                      <a:pt x="42993" y="25851"/>
                      <a:pt x="43027" y="26314"/>
                      <a:pt x="43045" y="25782"/>
                    </a:cubicBezTo>
                    <a:cubicBezTo>
                      <a:pt x="43045" y="25645"/>
                      <a:pt x="43045" y="25438"/>
                      <a:pt x="43165" y="25627"/>
                    </a:cubicBezTo>
                    <a:cubicBezTo>
                      <a:pt x="43133" y="25786"/>
                      <a:pt x="43133" y="25950"/>
                      <a:pt x="43165" y="26108"/>
                    </a:cubicBezTo>
                    <a:cubicBezTo>
                      <a:pt x="43165" y="26108"/>
                      <a:pt x="43165" y="26297"/>
                      <a:pt x="43165" y="26211"/>
                    </a:cubicBezTo>
                    <a:lnTo>
                      <a:pt x="43165" y="26366"/>
                    </a:lnTo>
                    <a:cubicBezTo>
                      <a:pt x="43371" y="26177"/>
                      <a:pt x="43646" y="26366"/>
                      <a:pt x="43766" y="26091"/>
                    </a:cubicBezTo>
                    <a:lnTo>
                      <a:pt x="43766" y="26091"/>
                    </a:lnTo>
                    <a:cubicBezTo>
                      <a:pt x="43766" y="25833"/>
                      <a:pt x="44024" y="25593"/>
                      <a:pt x="44058" y="25318"/>
                    </a:cubicBezTo>
                    <a:lnTo>
                      <a:pt x="44058" y="25318"/>
                    </a:lnTo>
                    <a:cubicBezTo>
                      <a:pt x="44058" y="25318"/>
                      <a:pt x="44058" y="25146"/>
                      <a:pt x="44058" y="25215"/>
                    </a:cubicBezTo>
                    <a:cubicBezTo>
                      <a:pt x="44058" y="25284"/>
                      <a:pt x="44058" y="25559"/>
                      <a:pt x="44058" y="25507"/>
                    </a:cubicBezTo>
                    <a:cubicBezTo>
                      <a:pt x="44058" y="25851"/>
                      <a:pt x="44247" y="26280"/>
                      <a:pt x="44642" y="26091"/>
                    </a:cubicBezTo>
                    <a:cubicBezTo>
                      <a:pt x="44947" y="26440"/>
                      <a:pt x="44947" y="26961"/>
                      <a:pt x="44642" y="27311"/>
                    </a:cubicBezTo>
                    <a:cubicBezTo>
                      <a:pt x="44642" y="27105"/>
                      <a:pt x="44487" y="27757"/>
                      <a:pt x="44642" y="27877"/>
                    </a:cubicBezTo>
                    <a:cubicBezTo>
                      <a:pt x="44230" y="27877"/>
                      <a:pt x="44505" y="28290"/>
                      <a:pt x="44109" y="28376"/>
                    </a:cubicBezTo>
                    <a:cubicBezTo>
                      <a:pt x="44109" y="28496"/>
                      <a:pt x="44109" y="28599"/>
                      <a:pt x="44109" y="28719"/>
                    </a:cubicBezTo>
                    <a:cubicBezTo>
                      <a:pt x="43847" y="28757"/>
                      <a:pt x="43612" y="28900"/>
                      <a:pt x="43457" y="29114"/>
                    </a:cubicBezTo>
                    <a:cubicBezTo>
                      <a:pt x="43457" y="29475"/>
                      <a:pt x="42924" y="29595"/>
                      <a:pt x="42684" y="29767"/>
                    </a:cubicBezTo>
                    <a:cubicBezTo>
                      <a:pt x="42443" y="29939"/>
                      <a:pt x="42495" y="30042"/>
                      <a:pt x="42357" y="29990"/>
                    </a:cubicBezTo>
                    <a:cubicBezTo>
                      <a:pt x="42248" y="30193"/>
                      <a:pt x="42016" y="30299"/>
                      <a:pt x="41791" y="30248"/>
                    </a:cubicBezTo>
                    <a:cubicBezTo>
                      <a:pt x="41649" y="30457"/>
                      <a:pt x="41423" y="30595"/>
                      <a:pt x="41172" y="30626"/>
                    </a:cubicBezTo>
                    <a:cubicBezTo>
                      <a:pt x="41035" y="30317"/>
                      <a:pt x="41172" y="29904"/>
                      <a:pt x="40897" y="29629"/>
                    </a:cubicBezTo>
                    <a:cubicBezTo>
                      <a:pt x="41155" y="29011"/>
                      <a:pt x="40262" y="28204"/>
                      <a:pt x="39850" y="27706"/>
                    </a:cubicBezTo>
                    <a:cubicBezTo>
                      <a:pt x="39850" y="27293"/>
                      <a:pt x="39747" y="26589"/>
                      <a:pt x="39283" y="26606"/>
                    </a:cubicBezTo>
                    <a:cubicBezTo>
                      <a:pt x="39111" y="25799"/>
                      <a:pt x="38166" y="25370"/>
                      <a:pt x="38338" y="24751"/>
                    </a:cubicBezTo>
                    <a:cubicBezTo>
                      <a:pt x="38218" y="24975"/>
                      <a:pt x="38338" y="25249"/>
                      <a:pt x="38201" y="25438"/>
                    </a:cubicBezTo>
                    <a:cubicBezTo>
                      <a:pt x="37948" y="25233"/>
                      <a:pt x="37727" y="24989"/>
                      <a:pt x="37548" y="24717"/>
                    </a:cubicBezTo>
                    <a:cubicBezTo>
                      <a:pt x="37840" y="25370"/>
                      <a:pt x="38304" y="26022"/>
                      <a:pt x="38682" y="26692"/>
                    </a:cubicBezTo>
                    <a:lnTo>
                      <a:pt x="38682" y="26692"/>
                    </a:lnTo>
                    <a:cubicBezTo>
                      <a:pt x="38718" y="26746"/>
                      <a:pt x="38765" y="26793"/>
                      <a:pt x="38819" y="26830"/>
                    </a:cubicBezTo>
                    <a:cubicBezTo>
                      <a:pt x="38819" y="26830"/>
                      <a:pt x="38716" y="26830"/>
                      <a:pt x="38699" y="26830"/>
                    </a:cubicBezTo>
                    <a:cubicBezTo>
                      <a:pt x="38699" y="27328"/>
                      <a:pt x="39231" y="27311"/>
                      <a:pt x="39317" y="27826"/>
                    </a:cubicBezTo>
                    <a:cubicBezTo>
                      <a:pt x="39180" y="27826"/>
                      <a:pt x="39420" y="28187"/>
                      <a:pt x="39317" y="28376"/>
                    </a:cubicBezTo>
                    <a:cubicBezTo>
                      <a:pt x="39214" y="28565"/>
                      <a:pt x="39644" y="28719"/>
                      <a:pt x="39712" y="28891"/>
                    </a:cubicBezTo>
                    <a:cubicBezTo>
                      <a:pt x="39781" y="29063"/>
                      <a:pt x="39884" y="29561"/>
                      <a:pt x="40021" y="29715"/>
                    </a:cubicBezTo>
                    <a:cubicBezTo>
                      <a:pt x="40159" y="29870"/>
                      <a:pt x="40142" y="30007"/>
                      <a:pt x="40021" y="29801"/>
                    </a:cubicBezTo>
                    <a:cubicBezTo>
                      <a:pt x="39901" y="29595"/>
                      <a:pt x="40021" y="30042"/>
                      <a:pt x="40193" y="29939"/>
                    </a:cubicBezTo>
                    <a:cubicBezTo>
                      <a:pt x="40571" y="29939"/>
                      <a:pt x="40708" y="30591"/>
                      <a:pt x="40932" y="30626"/>
                    </a:cubicBezTo>
                    <a:cubicBezTo>
                      <a:pt x="41155" y="30660"/>
                      <a:pt x="40932" y="30746"/>
                      <a:pt x="41035" y="30746"/>
                    </a:cubicBezTo>
                    <a:cubicBezTo>
                      <a:pt x="41037" y="30889"/>
                      <a:pt x="40935" y="31013"/>
                      <a:pt x="40794" y="31038"/>
                    </a:cubicBezTo>
                    <a:cubicBezTo>
                      <a:pt x="41035" y="31038"/>
                      <a:pt x="41086" y="31364"/>
                      <a:pt x="41327" y="31450"/>
                    </a:cubicBezTo>
                    <a:cubicBezTo>
                      <a:pt x="41782" y="31205"/>
                      <a:pt x="42267" y="31020"/>
                      <a:pt x="42770" y="30901"/>
                    </a:cubicBezTo>
                    <a:cubicBezTo>
                      <a:pt x="42857" y="30834"/>
                      <a:pt x="42933" y="30752"/>
                      <a:pt x="42993" y="30660"/>
                    </a:cubicBezTo>
                    <a:cubicBezTo>
                      <a:pt x="43165" y="30660"/>
                      <a:pt x="42993" y="31021"/>
                      <a:pt x="42993" y="31210"/>
                    </a:cubicBezTo>
                    <a:cubicBezTo>
                      <a:pt x="42993" y="31399"/>
                      <a:pt x="42993" y="31210"/>
                      <a:pt x="42993" y="31210"/>
                    </a:cubicBezTo>
                    <a:cubicBezTo>
                      <a:pt x="42684" y="33580"/>
                      <a:pt x="39163" y="34989"/>
                      <a:pt x="38922" y="37033"/>
                    </a:cubicBezTo>
                    <a:cubicBezTo>
                      <a:pt x="38922" y="37033"/>
                      <a:pt x="38716" y="37204"/>
                      <a:pt x="38802" y="37307"/>
                    </a:cubicBezTo>
                    <a:cubicBezTo>
                      <a:pt x="38888" y="37410"/>
                      <a:pt x="38596" y="37874"/>
                      <a:pt x="38802" y="38012"/>
                    </a:cubicBezTo>
                    <a:cubicBezTo>
                      <a:pt x="38630" y="38407"/>
                      <a:pt x="38493" y="38991"/>
                      <a:pt x="38355" y="39248"/>
                    </a:cubicBezTo>
                    <a:cubicBezTo>
                      <a:pt x="38218" y="39506"/>
                      <a:pt x="38149" y="39369"/>
                      <a:pt x="38355" y="39351"/>
                    </a:cubicBezTo>
                    <a:cubicBezTo>
                      <a:pt x="38063" y="39781"/>
                      <a:pt x="37514" y="39901"/>
                      <a:pt x="37119" y="40193"/>
                    </a:cubicBezTo>
                    <a:lnTo>
                      <a:pt x="37119" y="40193"/>
                    </a:lnTo>
                    <a:cubicBezTo>
                      <a:pt x="36902" y="40432"/>
                      <a:pt x="36622" y="40604"/>
                      <a:pt x="36311" y="40691"/>
                    </a:cubicBezTo>
                    <a:cubicBezTo>
                      <a:pt x="36339" y="40751"/>
                      <a:pt x="36339" y="40820"/>
                      <a:pt x="36311" y="40880"/>
                    </a:cubicBezTo>
                    <a:cubicBezTo>
                      <a:pt x="36311" y="40880"/>
                      <a:pt x="36311" y="41000"/>
                      <a:pt x="36311" y="41035"/>
                    </a:cubicBezTo>
                    <a:cubicBezTo>
                      <a:pt x="36311" y="41069"/>
                      <a:pt x="36311" y="41292"/>
                      <a:pt x="36311" y="41395"/>
                    </a:cubicBezTo>
                    <a:cubicBezTo>
                      <a:pt x="36311" y="41498"/>
                      <a:pt x="36311" y="41310"/>
                      <a:pt x="36311" y="41292"/>
                    </a:cubicBezTo>
                    <a:lnTo>
                      <a:pt x="36311" y="41292"/>
                    </a:lnTo>
                    <a:lnTo>
                      <a:pt x="36311" y="41292"/>
                    </a:lnTo>
                    <a:cubicBezTo>
                      <a:pt x="36311" y="41447"/>
                      <a:pt x="36122" y="41567"/>
                      <a:pt x="36054" y="41705"/>
                    </a:cubicBezTo>
                    <a:lnTo>
                      <a:pt x="36054" y="41705"/>
                    </a:lnTo>
                    <a:cubicBezTo>
                      <a:pt x="35865" y="42117"/>
                      <a:pt x="35126" y="41997"/>
                      <a:pt x="35006" y="42392"/>
                    </a:cubicBezTo>
                    <a:lnTo>
                      <a:pt x="35126" y="42392"/>
                    </a:lnTo>
                    <a:cubicBezTo>
                      <a:pt x="35084" y="42471"/>
                      <a:pt x="35025" y="42542"/>
                      <a:pt x="34954" y="42598"/>
                    </a:cubicBezTo>
                    <a:lnTo>
                      <a:pt x="34954" y="42598"/>
                    </a:lnTo>
                    <a:cubicBezTo>
                      <a:pt x="34162" y="43425"/>
                      <a:pt x="33158" y="44019"/>
                      <a:pt x="32051" y="44315"/>
                    </a:cubicBezTo>
                    <a:cubicBezTo>
                      <a:pt x="31588" y="44161"/>
                      <a:pt x="31124" y="44453"/>
                      <a:pt x="30660" y="44418"/>
                    </a:cubicBezTo>
                    <a:cubicBezTo>
                      <a:pt x="30660" y="44333"/>
                      <a:pt x="30660" y="44418"/>
                      <a:pt x="30660" y="44418"/>
                    </a:cubicBezTo>
                    <a:cubicBezTo>
                      <a:pt x="30660" y="44418"/>
                      <a:pt x="30557" y="44333"/>
                      <a:pt x="30660" y="44418"/>
                    </a:cubicBezTo>
                    <a:cubicBezTo>
                      <a:pt x="30763" y="44504"/>
                      <a:pt x="30798" y="44230"/>
                      <a:pt x="30660" y="44092"/>
                    </a:cubicBezTo>
                    <a:cubicBezTo>
                      <a:pt x="30987" y="43938"/>
                      <a:pt x="30660" y="43508"/>
                      <a:pt x="30660" y="43199"/>
                    </a:cubicBezTo>
                    <a:cubicBezTo>
                      <a:pt x="30128" y="42392"/>
                      <a:pt x="30437" y="41189"/>
                      <a:pt x="29836" y="40296"/>
                    </a:cubicBezTo>
                    <a:cubicBezTo>
                      <a:pt x="29836" y="39369"/>
                      <a:pt x="31210" y="38956"/>
                      <a:pt x="30591" y="38046"/>
                    </a:cubicBezTo>
                    <a:cubicBezTo>
                      <a:pt x="30866" y="37840"/>
                      <a:pt x="30591" y="37428"/>
                      <a:pt x="30471" y="37204"/>
                    </a:cubicBezTo>
                    <a:lnTo>
                      <a:pt x="30574" y="37204"/>
                    </a:lnTo>
                    <a:cubicBezTo>
                      <a:pt x="30574" y="37204"/>
                      <a:pt x="30334" y="37204"/>
                      <a:pt x="30454" y="37050"/>
                    </a:cubicBezTo>
                    <a:cubicBezTo>
                      <a:pt x="30248" y="36449"/>
                      <a:pt x="29561" y="36242"/>
                      <a:pt x="29423" y="35607"/>
                    </a:cubicBezTo>
                    <a:cubicBezTo>
                      <a:pt x="29578" y="35607"/>
                      <a:pt x="29612" y="35487"/>
                      <a:pt x="29630" y="35298"/>
                    </a:cubicBezTo>
                    <a:cubicBezTo>
                      <a:pt x="29647" y="35109"/>
                      <a:pt x="29767" y="35298"/>
                      <a:pt x="29819" y="35298"/>
                    </a:cubicBezTo>
                    <a:cubicBezTo>
                      <a:pt x="29741" y="35301"/>
                      <a:pt x="29670" y="35252"/>
                      <a:pt x="29647" y="35177"/>
                    </a:cubicBezTo>
                    <a:cubicBezTo>
                      <a:pt x="29767" y="35177"/>
                      <a:pt x="29750" y="35057"/>
                      <a:pt x="29647" y="35040"/>
                    </a:cubicBezTo>
                    <a:cubicBezTo>
                      <a:pt x="29897" y="34793"/>
                      <a:pt x="29972" y="34419"/>
                      <a:pt x="29836" y="34095"/>
                    </a:cubicBezTo>
                    <a:cubicBezTo>
                      <a:pt x="29681" y="34198"/>
                      <a:pt x="29612" y="34095"/>
                      <a:pt x="29612" y="33906"/>
                    </a:cubicBezTo>
                    <a:cubicBezTo>
                      <a:pt x="29559" y="33957"/>
                      <a:pt x="29477" y="33957"/>
                      <a:pt x="29423" y="33906"/>
                    </a:cubicBezTo>
                    <a:cubicBezTo>
                      <a:pt x="29269" y="34095"/>
                      <a:pt x="28771" y="34078"/>
                      <a:pt x="28496" y="34044"/>
                    </a:cubicBezTo>
                    <a:cubicBezTo>
                      <a:pt x="28118" y="32807"/>
                      <a:pt x="26778" y="33529"/>
                      <a:pt x="25937" y="33821"/>
                    </a:cubicBezTo>
                    <a:cubicBezTo>
                      <a:pt x="24219" y="33305"/>
                      <a:pt x="23961" y="34490"/>
                      <a:pt x="22501" y="32687"/>
                    </a:cubicBezTo>
                    <a:cubicBezTo>
                      <a:pt x="22330" y="32687"/>
                      <a:pt x="22364" y="32429"/>
                      <a:pt x="22226" y="32361"/>
                    </a:cubicBezTo>
                    <a:cubicBezTo>
                      <a:pt x="22089" y="32292"/>
                      <a:pt x="22226" y="32240"/>
                      <a:pt x="22226" y="32137"/>
                    </a:cubicBezTo>
                    <a:cubicBezTo>
                      <a:pt x="22226" y="32034"/>
                      <a:pt x="21883" y="31897"/>
                      <a:pt x="21986" y="31828"/>
                    </a:cubicBezTo>
                    <a:cubicBezTo>
                      <a:pt x="21608" y="31828"/>
                      <a:pt x="21814" y="31485"/>
                      <a:pt x="21591" y="31536"/>
                    </a:cubicBezTo>
                    <a:cubicBezTo>
                      <a:pt x="21368" y="31588"/>
                      <a:pt x="21591" y="31450"/>
                      <a:pt x="21436" y="31450"/>
                    </a:cubicBezTo>
                    <a:lnTo>
                      <a:pt x="21436" y="31450"/>
                    </a:lnTo>
                    <a:lnTo>
                      <a:pt x="21436" y="31450"/>
                    </a:lnTo>
                    <a:cubicBezTo>
                      <a:pt x="21436" y="31450"/>
                      <a:pt x="21436" y="31450"/>
                      <a:pt x="21436" y="31347"/>
                    </a:cubicBezTo>
                    <a:cubicBezTo>
                      <a:pt x="21436" y="31244"/>
                      <a:pt x="21625" y="31347"/>
                      <a:pt x="21642" y="31347"/>
                    </a:cubicBezTo>
                    <a:cubicBezTo>
                      <a:pt x="21660" y="31347"/>
                      <a:pt x="21076" y="31347"/>
                      <a:pt x="21247" y="31158"/>
                    </a:cubicBezTo>
                    <a:cubicBezTo>
                      <a:pt x="21110" y="31158"/>
                      <a:pt x="21076" y="31158"/>
                      <a:pt x="21041" y="30986"/>
                    </a:cubicBezTo>
                    <a:cubicBezTo>
                      <a:pt x="21007" y="30815"/>
                      <a:pt x="21162" y="30986"/>
                      <a:pt x="21213" y="30986"/>
                    </a:cubicBezTo>
                    <a:cubicBezTo>
                      <a:pt x="21265" y="30986"/>
                      <a:pt x="21076" y="30986"/>
                      <a:pt x="21024" y="30986"/>
                    </a:cubicBezTo>
                    <a:cubicBezTo>
                      <a:pt x="20973" y="30986"/>
                      <a:pt x="21024" y="30849"/>
                      <a:pt x="21024" y="30780"/>
                    </a:cubicBezTo>
                    <a:cubicBezTo>
                      <a:pt x="21024" y="30712"/>
                      <a:pt x="21179" y="30935"/>
                      <a:pt x="21299" y="30780"/>
                    </a:cubicBezTo>
                    <a:cubicBezTo>
                      <a:pt x="21419" y="30626"/>
                      <a:pt x="21024" y="30694"/>
                      <a:pt x="21144" y="30626"/>
                    </a:cubicBezTo>
                    <a:lnTo>
                      <a:pt x="21144" y="30626"/>
                    </a:lnTo>
                    <a:cubicBezTo>
                      <a:pt x="21144" y="30626"/>
                      <a:pt x="20990" y="30368"/>
                      <a:pt x="20921" y="30299"/>
                    </a:cubicBezTo>
                    <a:cubicBezTo>
                      <a:pt x="21365" y="29847"/>
                      <a:pt x="21523" y="29187"/>
                      <a:pt x="21333" y="28582"/>
                    </a:cubicBezTo>
                    <a:cubicBezTo>
                      <a:pt x="21471" y="28582"/>
                      <a:pt x="21333" y="28393"/>
                      <a:pt x="21436" y="28358"/>
                    </a:cubicBezTo>
                    <a:cubicBezTo>
                      <a:pt x="21539" y="28324"/>
                      <a:pt x="21265" y="28255"/>
                      <a:pt x="21247" y="28135"/>
                    </a:cubicBezTo>
                    <a:lnTo>
                      <a:pt x="21247" y="28221"/>
                    </a:lnTo>
                    <a:cubicBezTo>
                      <a:pt x="21228" y="27927"/>
                      <a:pt x="21357" y="27644"/>
                      <a:pt x="21591" y="27465"/>
                    </a:cubicBezTo>
                    <a:cubicBezTo>
                      <a:pt x="21952" y="26297"/>
                      <a:pt x="23103" y="25833"/>
                      <a:pt x="23927" y="25043"/>
                    </a:cubicBezTo>
                    <a:cubicBezTo>
                      <a:pt x="23935" y="24883"/>
                      <a:pt x="23935" y="24723"/>
                      <a:pt x="23927" y="24562"/>
                    </a:cubicBezTo>
                    <a:cubicBezTo>
                      <a:pt x="23927" y="24373"/>
                      <a:pt x="24288" y="24288"/>
                      <a:pt x="24133" y="24081"/>
                    </a:cubicBezTo>
                    <a:cubicBezTo>
                      <a:pt x="24677" y="23812"/>
                      <a:pt x="25139" y="23403"/>
                      <a:pt x="25473" y="22896"/>
                    </a:cubicBezTo>
                    <a:cubicBezTo>
                      <a:pt x="25473" y="23240"/>
                      <a:pt x="26005" y="23223"/>
                      <a:pt x="26194" y="23102"/>
                    </a:cubicBezTo>
                    <a:cubicBezTo>
                      <a:pt x="26521" y="23497"/>
                      <a:pt x="27225" y="22828"/>
                      <a:pt x="27586" y="22725"/>
                    </a:cubicBezTo>
                    <a:cubicBezTo>
                      <a:pt x="27946" y="22621"/>
                      <a:pt x="28771" y="22725"/>
                      <a:pt x="29063" y="22587"/>
                    </a:cubicBezTo>
                    <a:cubicBezTo>
                      <a:pt x="29355" y="22450"/>
                      <a:pt x="29286" y="22828"/>
                      <a:pt x="29372" y="22587"/>
                    </a:cubicBezTo>
                    <a:cubicBezTo>
                      <a:pt x="29647" y="22828"/>
                      <a:pt x="29939" y="22450"/>
                      <a:pt x="30162" y="22587"/>
                    </a:cubicBezTo>
                    <a:cubicBezTo>
                      <a:pt x="30162" y="22398"/>
                      <a:pt x="30299" y="22725"/>
                      <a:pt x="30385" y="22776"/>
                    </a:cubicBezTo>
                    <a:cubicBezTo>
                      <a:pt x="30746" y="22415"/>
                      <a:pt x="30488" y="22862"/>
                      <a:pt x="30385" y="23017"/>
                    </a:cubicBezTo>
                    <a:cubicBezTo>
                      <a:pt x="31021" y="23446"/>
                      <a:pt x="29956" y="23618"/>
                      <a:pt x="30385" y="23910"/>
                    </a:cubicBezTo>
                    <a:cubicBezTo>
                      <a:pt x="30385" y="23910"/>
                      <a:pt x="30385" y="23910"/>
                      <a:pt x="30506" y="23910"/>
                    </a:cubicBezTo>
                    <a:cubicBezTo>
                      <a:pt x="30626" y="23910"/>
                      <a:pt x="30506" y="23824"/>
                      <a:pt x="30506" y="23910"/>
                    </a:cubicBezTo>
                    <a:cubicBezTo>
                      <a:pt x="30677" y="24322"/>
                      <a:pt x="31313" y="24013"/>
                      <a:pt x="31622" y="24236"/>
                    </a:cubicBezTo>
                    <a:cubicBezTo>
                      <a:pt x="34851" y="26469"/>
                      <a:pt x="32343" y="23566"/>
                      <a:pt x="34473" y="24236"/>
                    </a:cubicBezTo>
                    <a:cubicBezTo>
                      <a:pt x="34834" y="24580"/>
                      <a:pt x="35641" y="24477"/>
                      <a:pt x="36191" y="24700"/>
                    </a:cubicBezTo>
                    <a:cubicBezTo>
                      <a:pt x="36741" y="24923"/>
                      <a:pt x="36724" y="24597"/>
                      <a:pt x="37084" y="24494"/>
                    </a:cubicBezTo>
                    <a:cubicBezTo>
                      <a:pt x="36844" y="24580"/>
                      <a:pt x="37084" y="24494"/>
                      <a:pt x="37187" y="24494"/>
                    </a:cubicBezTo>
                    <a:cubicBezTo>
                      <a:pt x="37290" y="24494"/>
                      <a:pt x="37187" y="24494"/>
                      <a:pt x="37187" y="24494"/>
                    </a:cubicBezTo>
                    <a:cubicBezTo>
                      <a:pt x="37187" y="24494"/>
                      <a:pt x="37411" y="24494"/>
                      <a:pt x="37462" y="24494"/>
                    </a:cubicBezTo>
                    <a:cubicBezTo>
                      <a:pt x="37514" y="24494"/>
                      <a:pt x="37565" y="24614"/>
                      <a:pt x="37565" y="24665"/>
                    </a:cubicBezTo>
                    <a:cubicBezTo>
                      <a:pt x="37565" y="24717"/>
                      <a:pt x="37565" y="24562"/>
                      <a:pt x="37565" y="24494"/>
                    </a:cubicBezTo>
                    <a:cubicBezTo>
                      <a:pt x="38733" y="24889"/>
                      <a:pt x="38338" y="22776"/>
                      <a:pt x="38407" y="22381"/>
                    </a:cubicBezTo>
                    <a:cubicBezTo>
                      <a:pt x="38218" y="22536"/>
                      <a:pt x="37892" y="22381"/>
                      <a:pt x="37840" y="22656"/>
                    </a:cubicBezTo>
                    <a:cubicBezTo>
                      <a:pt x="37496" y="23051"/>
                      <a:pt x="36775" y="22106"/>
                      <a:pt x="36775" y="22656"/>
                    </a:cubicBezTo>
                    <a:cubicBezTo>
                      <a:pt x="36620" y="22656"/>
                      <a:pt x="36225" y="22828"/>
                      <a:pt x="36277" y="22536"/>
                    </a:cubicBezTo>
                    <a:cubicBezTo>
                      <a:pt x="36277" y="22536"/>
                      <a:pt x="36277" y="22536"/>
                      <a:pt x="36140" y="22536"/>
                    </a:cubicBezTo>
                    <a:cubicBezTo>
                      <a:pt x="36002" y="22536"/>
                      <a:pt x="35951" y="22690"/>
                      <a:pt x="35933" y="22536"/>
                    </a:cubicBezTo>
                    <a:lnTo>
                      <a:pt x="35727" y="22536"/>
                    </a:lnTo>
                    <a:cubicBezTo>
                      <a:pt x="35727" y="22450"/>
                      <a:pt x="35951" y="22536"/>
                      <a:pt x="35951" y="22398"/>
                    </a:cubicBezTo>
                    <a:cubicBezTo>
                      <a:pt x="35951" y="22261"/>
                      <a:pt x="35556" y="22501"/>
                      <a:pt x="35762" y="22398"/>
                    </a:cubicBezTo>
                    <a:cubicBezTo>
                      <a:pt x="35521" y="22244"/>
                      <a:pt x="35762" y="22106"/>
                      <a:pt x="35401" y="22020"/>
                    </a:cubicBezTo>
                    <a:cubicBezTo>
                      <a:pt x="35040" y="21934"/>
                      <a:pt x="35401" y="21883"/>
                      <a:pt x="35401" y="21831"/>
                    </a:cubicBezTo>
                    <a:cubicBezTo>
                      <a:pt x="35401" y="21780"/>
                      <a:pt x="35401" y="21952"/>
                      <a:pt x="35573" y="21831"/>
                    </a:cubicBezTo>
                    <a:lnTo>
                      <a:pt x="35573" y="21831"/>
                    </a:lnTo>
                    <a:cubicBezTo>
                      <a:pt x="35573" y="21831"/>
                      <a:pt x="35710" y="21831"/>
                      <a:pt x="35676" y="21694"/>
                    </a:cubicBezTo>
                    <a:cubicBezTo>
                      <a:pt x="35641" y="21557"/>
                      <a:pt x="35504" y="21522"/>
                      <a:pt x="35676" y="21488"/>
                    </a:cubicBezTo>
                    <a:cubicBezTo>
                      <a:pt x="35195" y="21660"/>
                      <a:pt x="35435" y="20938"/>
                      <a:pt x="35779" y="21179"/>
                    </a:cubicBezTo>
                    <a:cubicBezTo>
                      <a:pt x="35779" y="21041"/>
                      <a:pt x="36071" y="21179"/>
                      <a:pt x="36225" y="21179"/>
                    </a:cubicBezTo>
                    <a:cubicBezTo>
                      <a:pt x="35916" y="21058"/>
                      <a:pt x="36363" y="21076"/>
                      <a:pt x="36397" y="20990"/>
                    </a:cubicBezTo>
                    <a:cubicBezTo>
                      <a:pt x="35676" y="20766"/>
                      <a:pt x="36775" y="20869"/>
                      <a:pt x="36827" y="20784"/>
                    </a:cubicBezTo>
                    <a:cubicBezTo>
                      <a:pt x="36964" y="20406"/>
                      <a:pt x="37479" y="20457"/>
                      <a:pt x="37788" y="20371"/>
                    </a:cubicBezTo>
                    <a:cubicBezTo>
                      <a:pt x="37788" y="20543"/>
                      <a:pt x="37960" y="20560"/>
                      <a:pt x="38063" y="20371"/>
                    </a:cubicBezTo>
                    <a:cubicBezTo>
                      <a:pt x="38166" y="20182"/>
                      <a:pt x="38201" y="20663"/>
                      <a:pt x="38287" y="20526"/>
                    </a:cubicBezTo>
                    <a:cubicBezTo>
                      <a:pt x="40760" y="21024"/>
                      <a:pt x="38991" y="19324"/>
                      <a:pt x="37857" y="19049"/>
                    </a:cubicBezTo>
                    <a:cubicBezTo>
                      <a:pt x="37857" y="19049"/>
                      <a:pt x="37857" y="19049"/>
                      <a:pt x="37857" y="18911"/>
                    </a:cubicBezTo>
                    <a:cubicBezTo>
                      <a:pt x="37857" y="18774"/>
                      <a:pt x="38063" y="18911"/>
                      <a:pt x="37977" y="18791"/>
                    </a:cubicBezTo>
                    <a:cubicBezTo>
                      <a:pt x="37892" y="18671"/>
                      <a:pt x="38201" y="18637"/>
                      <a:pt x="37977" y="18551"/>
                    </a:cubicBezTo>
                    <a:cubicBezTo>
                      <a:pt x="37754" y="18465"/>
                      <a:pt x="37874" y="18551"/>
                      <a:pt x="37857" y="18448"/>
                    </a:cubicBezTo>
                    <a:cubicBezTo>
                      <a:pt x="37840" y="18345"/>
                      <a:pt x="38029" y="18448"/>
                      <a:pt x="38029" y="18448"/>
                    </a:cubicBezTo>
                    <a:cubicBezTo>
                      <a:pt x="38029" y="18448"/>
                      <a:pt x="38166" y="18310"/>
                      <a:pt x="38132" y="18224"/>
                    </a:cubicBezTo>
                    <a:cubicBezTo>
                      <a:pt x="38098" y="18138"/>
                      <a:pt x="37651" y="18224"/>
                      <a:pt x="37548" y="18499"/>
                    </a:cubicBezTo>
                    <a:cubicBezTo>
                      <a:pt x="37548" y="18499"/>
                      <a:pt x="37445" y="18585"/>
                      <a:pt x="37359" y="18499"/>
                    </a:cubicBezTo>
                    <a:cubicBezTo>
                      <a:pt x="37273" y="18413"/>
                      <a:pt x="37256" y="18499"/>
                      <a:pt x="37204" y="18499"/>
                    </a:cubicBezTo>
                    <a:cubicBezTo>
                      <a:pt x="37153" y="18499"/>
                      <a:pt x="37204" y="18774"/>
                      <a:pt x="37204" y="18705"/>
                    </a:cubicBezTo>
                    <a:cubicBezTo>
                      <a:pt x="37204" y="18637"/>
                      <a:pt x="37204" y="18585"/>
                      <a:pt x="37204" y="18568"/>
                    </a:cubicBezTo>
                    <a:cubicBezTo>
                      <a:pt x="37204" y="18551"/>
                      <a:pt x="36964" y="18722"/>
                      <a:pt x="36878" y="18791"/>
                    </a:cubicBezTo>
                    <a:cubicBezTo>
                      <a:pt x="36792" y="18860"/>
                      <a:pt x="37170" y="18791"/>
                      <a:pt x="37136" y="18946"/>
                    </a:cubicBezTo>
                    <a:cubicBezTo>
                      <a:pt x="37101" y="19100"/>
                      <a:pt x="37136" y="18946"/>
                      <a:pt x="37136" y="18946"/>
                    </a:cubicBezTo>
                    <a:cubicBezTo>
                      <a:pt x="37136" y="18946"/>
                      <a:pt x="37136" y="19066"/>
                      <a:pt x="37325" y="19049"/>
                    </a:cubicBezTo>
                    <a:cubicBezTo>
                      <a:pt x="37514" y="19032"/>
                      <a:pt x="37016" y="18825"/>
                      <a:pt x="37084" y="18705"/>
                    </a:cubicBezTo>
                    <a:cubicBezTo>
                      <a:pt x="37153" y="18585"/>
                      <a:pt x="37273" y="18980"/>
                      <a:pt x="37393" y="19014"/>
                    </a:cubicBezTo>
                    <a:cubicBezTo>
                      <a:pt x="37514" y="19049"/>
                      <a:pt x="37393" y="19014"/>
                      <a:pt x="37514" y="19014"/>
                    </a:cubicBezTo>
                    <a:cubicBezTo>
                      <a:pt x="37634" y="19014"/>
                      <a:pt x="37617" y="18929"/>
                      <a:pt x="37685" y="18929"/>
                    </a:cubicBezTo>
                    <a:cubicBezTo>
                      <a:pt x="37754" y="18929"/>
                      <a:pt x="37685" y="19152"/>
                      <a:pt x="37462" y="19100"/>
                    </a:cubicBezTo>
                    <a:cubicBezTo>
                      <a:pt x="37239" y="19049"/>
                      <a:pt x="36861" y="19650"/>
                      <a:pt x="36912" y="19100"/>
                    </a:cubicBezTo>
                    <a:cubicBezTo>
                      <a:pt x="36775" y="18980"/>
                      <a:pt x="36466" y="19100"/>
                      <a:pt x="36758" y="18860"/>
                    </a:cubicBezTo>
                    <a:cubicBezTo>
                      <a:pt x="37050" y="18619"/>
                      <a:pt x="36620" y="18602"/>
                      <a:pt x="36500" y="18740"/>
                    </a:cubicBezTo>
                    <a:cubicBezTo>
                      <a:pt x="36380" y="18877"/>
                      <a:pt x="36311" y="18740"/>
                      <a:pt x="36380" y="18619"/>
                    </a:cubicBezTo>
                    <a:cubicBezTo>
                      <a:pt x="36449" y="18499"/>
                      <a:pt x="36191" y="18619"/>
                      <a:pt x="36157" y="18619"/>
                    </a:cubicBezTo>
                    <a:cubicBezTo>
                      <a:pt x="36122" y="18619"/>
                      <a:pt x="36380" y="18619"/>
                      <a:pt x="36449" y="18619"/>
                    </a:cubicBezTo>
                    <a:cubicBezTo>
                      <a:pt x="36396" y="18670"/>
                      <a:pt x="36313" y="18670"/>
                      <a:pt x="36260" y="18619"/>
                    </a:cubicBezTo>
                    <a:cubicBezTo>
                      <a:pt x="36260" y="18791"/>
                      <a:pt x="36122" y="18619"/>
                      <a:pt x="36088" y="18740"/>
                    </a:cubicBezTo>
                    <a:cubicBezTo>
                      <a:pt x="36054" y="18860"/>
                      <a:pt x="36088" y="18929"/>
                      <a:pt x="35916" y="18946"/>
                    </a:cubicBezTo>
                    <a:cubicBezTo>
                      <a:pt x="35744" y="18963"/>
                      <a:pt x="35916" y="19221"/>
                      <a:pt x="35796" y="19083"/>
                    </a:cubicBezTo>
                    <a:cubicBezTo>
                      <a:pt x="35916" y="19392"/>
                      <a:pt x="35796" y="19409"/>
                      <a:pt x="35607" y="19598"/>
                    </a:cubicBezTo>
                    <a:cubicBezTo>
                      <a:pt x="35418" y="19787"/>
                      <a:pt x="35607" y="19856"/>
                      <a:pt x="35607" y="19993"/>
                    </a:cubicBezTo>
                    <a:cubicBezTo>
                      <a:pt x="35607" y="20131"/>
                      <a:pt x="35401" y="20097"/>
                      <a:pt x="35470" y="20251"/>
                    </a:cubicBezTo>
                    <a:cubicBezTo>
                      <a:pt x="35538" y="20406"/>
                      <a:pt x="35607" y="20440"/>
                      <a:pt x="35607" y="20698"/>
                    </a:cubicBezTo>
                    <a:cubicBezTo>
                      <a:pt x="35607" y="20955"/>
                      <a:pt x="36054" y="20835"/>
                      <a:pt x="35899" y="20990"/>
                    </a:cubicBezTo>
                    <a:cubicBezTo>
                      <a:pt x="35744" y="21144"/>
                      <a:pt x="35435" y="21144"/>
                      <a:pt x="35212" y="21333"/>
                    </a:cubicBezTo>
                    <a:cubicBezTo>
                      <a:pt x="35212" y="21230"/>
                      <a:pt x="35212" y="21179"/>
                      <a:pt x="35315" y="21144"/>
                    </a:cubicBezTo>
                    <a:cubicBezTo>
                      <a:pt x="35109" y="21144"/>
                      <a:pt x="34851" y="20887"/>
                      <a:pt x="34731" y="21144"/>
                    </a:cubicBezTo>
                    <a:cubicBezTo>
                      <a:pt x="34559" y="21144"/>
                      <a:pt x="34611" y="21144"/>
                      <a:pt x="34491" y="21230"/>
                    </a:cubicBezTo>
                    <a:cubicBezTo>
                      <a:pt x="34370" y="21316"/>
                      <a:pt x="34491" y="21333"/>
                      <a:pt x="34611" y="21385"/>
                    </a:cubicBezTo>
                    <a:cubicBezTo>
                      <a:pt x="34731" y="21436"/>
                      <a:pt x="34422" y="21299"/>
                      <a:pt x="34439" y="21385"/>
                    </a:cubicBezTo>
                    <a:cubicBezTo>
                      <a:pt x="34456" y="21471"/>
                      <a:pt x="34559" y="21385"/>
                      <a:pt x="34439" y="21471"/>
                    </a:cubicBezTo>
                    <a:cubicBezTo>
                      <a:pt x="34319" y="21557"/>
                      <a:pt x="34164" y="21350"/>
                      <a:pt x="34439" y="21471"/>
                    </a:cubicBezTo>
                    <a:cubicBezTo>
                      <a:pt x="34302" y="21471"/>
                      <a:pt x="34250" y="21333"/>
                      <a:pt x="34164" y="21282"/>
                    </a:cubicBezTo>
                    <a:cubicBezTo>
                      <a:pt x="34078" y="21230"/>
                      <a:pt x="33924" y="21402"/>
                      <a:pt x="34164" y="21522"/>
                    </a:cubicBezTo>
                    <a:cubicBezTo>
                      <a:pt x="34405" y="21642"/>
                      <a:pt x="34542" y="21986"/>
                      <a:pt x="34164" y="21728"/>
                    </a:cubicBezTo>
                    <a:cubicBezTo>
                      <a:pt x="34164" y="21728"/>
                      <a:pt x="34164" y="21728"/>
                      <a:pt x="34164" y="21728"/>
                    </a:cubicBezTo>
                    <a:cubicBezTo>
                      <a:pt x="34164" y="21728"/>
                      <a:pt x="34164" y="21849"/>
                      <a:pt x="34164" y="21831"/>
                    </a:cubicBezTo>
                    <a:cubicBezTo>
                      <a:pt x="34353" y="21969"/>
                      <a:pt x="34680" y="22020"/>
                      <a:pt x="34662" y="22295"/>
                    </a:cubicBezTo>
                    <a:cubicBezTo>
                      <a:pt x="34542" y="22295"/>
                      <a:pt x="34473" y="22175"/>
                      <a:pt x="34336" y="22295"/>
                    </a:cubicBezTo>
                    <a:cubicBezTo>
                      <a:pt x="34199" y="22415"/>
                      <a:pt x="34645" y="22536"/>
                      <a:pt x="34456" y="22467"/>
                    </a:cubicBezTo>
                    <a:cubicBezTo>
                      <a:pt x="34267" y="22398"/>
                      <a:pt x="34456" y="22467"/>
                      <a:pt x="34456" y="22467"/>
                    </a:cubicBezTo>
                    <a:cubicBezTo>
                      <a:pt x="34456" y="22467"/>
                      <a:pt x="34456" y="22707"/>
                      <a:pt x="34456" y="22776"/>
                    </a:cubicBezTo>
                    <a:cubicBezTo>
                      <a:pt x="34456" y="22845"/>
                      <a:pt x="34216" y="22587"/>
                      <a:pt x="34250" y="22776"/>
                    </a:cubicBezTo>
                    <a:cubicBezTo>
                      <a:pt x="34250" y="22621"/>
                      <a:pt x="34147" y="22639"/>
                      <a:pt x="34078" y="22518"/>
                    </a:cubicBezTo>
                    <a:cubicBezTo>
                      <a:pt x="34010" y="22398"/>
                      <a:pt x="34078" y="22604"/>
                      <a:pt x="34078" y="22656"/>
                    </a:cubicBezTo>
                    <a:cubicBezTo>
                      <a:pt x="33988" y="22604"/>
                      <a:pt x="33946" y="22498"/>
                      <a:pt x="33975" y="22398"/>
                    </a:cubicBezTo>
                    <a:cubicBezTo>
                      <a:pt x="33855" y="22295"/>
                      <a:pt x="33666" y="22226"/>
                      <a:pt x="33855" y="22089"/>
                    </a:cubicBezTo>
                    <a:cubicBezTo>
                      <a:pt x="34044" y="21952"/>
                      <a:pt x="34199" y="22261"/>
                      <a:pt x="34353" y="22089"/>
                    </a:cubicBezTo>
                    <a:cubicBezTo>
                      <a:pt x="34216" y="22089"/>
                      <a:pt x="34061" y="21917"/>
                      <a:pt x="33958" y="22089"/>
                    </a:cubicBezTo>
                    <a:cubicBezTo>
                      <a:pt x="33855" y="22261"/>
                      <a:pt x="33838" y="21969"/>
                      <a:pt x="33786" y="22089"/>
                    </a:cubicBezTo>
                    <a:cubicBezTo>
                      <a:pt x="33546" y="21849"/>
                      <a:pt x="33374" y="21471"/>
                      <a:pt x="33065" y="21316"/>
                    </a:cubicBezTo>
                    <a:cubicBezTo>
                      <a:pt x="33065" y="21127"/>
                      <a:pt x="33065" y="20921"/>
                      <a:pt x="33065" y="20732"/>
                    </a:cubicBezTo>
                    <a:cubicBezTo>
                      <a:pt x="32859" y="20732"/>
                      <a:pt x="32739" y="20457"/>
                      <a:pt x="32584" y="20320"/>
                    </a:cubicBezTo>
                    <a:cubicBezTo>
                      <a:pt x="32429" y="20182"/>
                      <a:pt x="32326" y="20320"/>
                      <a:pt x="32275" y="20320"/>
                    </a:cubicBezTo>
                    <a:cubicBezTo>
                      <a:pt x="32223" y="20320"/>
                      <a:pt x="32275" y="20320"/>
                      <a:pt x="32395" y="20320"/>
                    </a:cubicBezTo>
                    <a:cubicBezTo>
                      <a:pt x="32515" y="20320"/>
                      <a:pt x="32103" y="20062"/>
                      <a:pt x="31931" y="20131"/>
                    </a:cubicBezTo>
                    <a:cubicBezTo>
                      <a:pt x="31759" y="20200"/>
                      <a:pt x="31416" y="19839"/>
                      <a:pt x="31742" y="19856"/>
                    </a:cubicBezTo>
                    <a:cubicBezTo>
                      <a:pt x="31347" y="19616"/>
                      <a:pt x="31536" y="19135"/>
                      <a:pt x="31175" y="19633"/>
                    </a:cubicBezTo>
                    <a:cubicBezTo>
                      <a:pt x="31175" y="19530"/>
                      <a:pt x="31038" y="19409"/>
                      <a:pt x="31175" y="19306"/>
                    </a:cubicBezTo>
                    <a:cubicBezTo>
                      <a:pt x="31313" y="19203"/>
                      <a:pt x="30832" y="19306"/>
                      <a:pt x="30746" y="19427"/>
                    </a:cubicBezTo>
                    <a:cubicBezTo>
                      <a:pt x="30746" y="19942"/>
                      <a:pt x="31347" y="20268"/>
                      <a:pt x="31656" y="20681"/>
                    </a:cubicBezTo>
                    <a:cubicBezTo>
                      <a:pt x="31811" y="20681"/>
                      <a:pt x="32223" y="20681"/>
                      <a:pt x="31983" y="20887"/>
                    </a:cubicBezTo>
                    <a:cubicBezTo>
                      <a:pt x="32223" y="21024"/>
                      <a:pt x="32979" y="21161"/>
                      <a:pt x="32807" y="21539"/>
                    </a:cubicBezTo>
                    <a:cubicBezTo>
                      <a:pt x="32653" y="21539"/>
                      <a:pt x="32807" y="21282"/>
                      <a:pt x="32532" y="21333"/>
                    </a:cubicBezTo>
                    <a:cubicBezTo>
                      <a:pt x="32258" y="21385"/>
                      <a:pt x="32258" y="21539"/>
                      <a:pt x="32309" y="21625"/>
                    </a:cubicBezTo>
                    <a:cubicBezTo>
                      <a:pt x="32670" y="21728"/>
                      <a:pt x="32309" y="21934"/>
                      <a:pt x="32309" y="22141"/>
                    </a:cubicBezTo>
                    <a:cubicBezTo>
                      <a:pt x="32309" y="22347"/>
                      <a:pt x="31845" y="22415"/>
                      <a:pt x="32086" y="22141"/>
                    </a:cubicBezTo>
                    <a:cubicBezTo>
                      <a:pt x="32197" y="21856"/>
                      <a:pt x="32069" y="21534"/>
                      <a:pt x="31794" y="21402"/>
                    </a:cubicBezTo>
                    <a:cubicBezTo>
                      <a:pt x="31639" y="21402"/>
                      <a:pt x="31794" y="21282"/>
                      <a:pt x="31656" y="21230"/>
                    </a:cubicBezTo>
                    <a:cubicBezTo>
                      <a:pt x="31518" y="21226"/>
                      <a:pt x="31393" y="21147"/>
                      <a:pt x="31330" y="21024"/>
                    </a:cubicBezTo>
                    <a:cubicBezTo>
                      <a:pt x="30317" y="21024"/>
                      <a:pt x="30145" y="18980"/>
                      <a:pt x="29080" y="20217"/>
                    </a:cubicBezTo>
                    <a:cubicBezTo>
                      <a:pt x="29080" y="20423"/>
                      <a:pt x="28736" y="20217"/>
                      <a:pt x="28633" y="20114"/>
                    </a:cubicBezTo>
                    <a:cubicBezTo>
                      <a:pt x="27568" y="19993"/>
                      <a:pt x="28633" y="20921"/>
                      <a:pt x="27448" y="21093"/>
                    </a:cubicBezTo>
                    <a:cubicBezTo>
                      <a:pt x="27534" y="21093"/>
                      <a:pt x="27448" y="21265"/>
                      <a:pt x="27448" y="21213"/>
                    </a:cubicBezTo>
                    <a:cubicBezTo>
                      <a:pt x="26744" y="21763"/>
                      <a:pt x="27448" y="21728"/>
                      <a:pt x="27191" y="22003"/>
                    </a:cubicBezTo>
                    <a:cubicBezTo>
                      <a:pt x="26950" y="22003"/>
                      <a:pt x="27070" y="22450"/>
                      <a:pt x="26847" y="22398"/>
                    </a:cubicBezTo>
                    <a:cubicBezTo>
                      <a:pt x="26418" y="22862"/>
                      <a:pt x="25919" y="22398"/>
                      <a:pt x="25421" y="22896"/>
                    </a:cubicBezTo>
                    <a:cubicBezTo>
                      <a:pt x="25095" y="22896"/>
                      <a:pt x="25147" y="22192"/>
                      <a:pt x="24700" y="22501"/>
                    </a:cubicBezTo>
                    <a:cubicBezTo>
                      <a:pt x="24700" y="22501"/>
                      <a:pt x="24494" y="22364"/>
                      <a:pt x="24408" y="22501"/>
                    </a:cubicBezTo>
                    <a:cubicBezTo>
                      <a:pt x="24426" y="22310"/>
                      <a:pt x="24460" y="22120"/>
                      <a:pt x="24511" y="21934"/>
                    </a:cubicBezTo>
                    <a:cubicBezTo>
                      <a:pt x="24185" y="21934"/>
                      <a:pt x="24511" y="21934"/>
                      <a:pt x="24511" y="21763"/>
                    </a:cubicBezTo>
                    <a:cubicBezTo>
                      <a:pt x="24099" y="22020"/>
                      <a:pt x="24614" y="21299"/>
                      <a:pt x="24631" y="21144"/>
                    </a:cubicBezTo>
                    <a:cubicBezTo>
                      <a:pt x="24648" y="20990"/>
                      <a:pt x="24631" y="20595"/>
                      <a:pt x="24734" y="20457"/>
                    </a:cubicBezTo>
                    <a:lnTo>
                      <a:pt x="24734" y="20457"/>
                    </a:lnTo>
                    <a:cubicBezTo>
                      <a:pt x="24734" y="20457"/>
                      <a:pt x="24734" y="20457"/>
                      <a:pt x="24734" y="20337"/>
                    </a:cubicBezTo>
                    <a:cubicBezTo>
                      <a:pt x="24734" y="20217"/>
                      <a:pt x="24734" y="20337"/>
                      <a:pt x="24734" y="20234"/>
                    </a:cubicBezTo>
                    <a:cubicBezTo>
                      <a:pt x="24734" y="20131"/>
                      <a:pt x="24940" y="20097"/>
                      <a:pt x="25026" y="20045"/>
                    </a:cubicBezTo>
                    <a:cubicBezTo>
                      <a:pt x="25112" y="19993"/>
                      <a:pt x="25404" y="20045"/>
                      <a:pt x="25490" y="20045"/>
                    </a:cubicBezTo>
                    <a:cubicBezTo>
                      <a:pt x="25851" y="20045"/>
                      <a:pt x="26246" y="20217"/>
                      <a:pt x="26607" y="20131"/>
                    </a:cubicBezTo>
                    <a:cubicBezTo>
                      <a:pt x="27242" y="20629"/>
                      <a:pt x="26847" y="18911"/>
                      <a:pt x="27276" y="19564"/>
                    </a:cubicBezTo>
                    <a:cubicBezTo>
                      <a:pt x="27276" y="19461"/>
                      <a:pt x="27173" y="19306"/>
                      <a:pt x="27053" y="19289"/>
                    </a:cubicBezTo>
                    <a:cubicBezTo>
                      <a:pt x="27225" y="19066"/>
                      <a:pt x="26899" y="19014"/>
                      <a:pt x="26813" y="18860"/>
                    </a:cubicBezTo>
                    <a:cubicBezTo>
                      <a:pt x="26727" y="18705"/>
                      <a:pt x="26813" y="18619"/>
                      <a:pt x="26950" y="18722"/>
                    </a:cubicBezTo>
                    <a:cubicBezTo>
                      <a:pt x="26847" y="18568"/>
                      <a:pt x="26727" y="18825"/>
                      <a:pt x="26727" y="18551"/>
                    </a:cubicBezTo>
                    <a:cubicBezTo>
                      <a:pt x="26607" y="18551"/>
                      <a:pt x="26400" y="18345"/>
                      <a:pt x="26229" y="18465"/>
                    </a:cubicBezTo>
                    <a:cubicBezTo>
                      <a:pt x="26057" y="18585"/>
                      <a:pt x="26229" y="18465"/>
                      <a:pt x="26229" y="18345"/>
                    </a:cubicBezTo>
                    <a:cubicBezTo>
                      <a:pt x="26229" y="18224"/>
                      <a:pt x="26332" y="18190"/>
                      <a:pt x="26229" y="18345"/>
                    </a:cubicBezTo>
                    <a:cubicBezTo>
                      <a:pt x="26126" y="18499"/>
                      <a:pt x="26229" y="18345"/>
                      <a:pt x="26229" y="18345"/>
                    </a:cubicBezTo>
                    <a:cubicBezTo>
                      <a:pt x="25851" y="18224"/>
                      <a:pt x="26435" y="18207"/>
                      <a:pt x="26555" y="18121"/>
                    </a:cubicBezTo>
                    <a:cubicBezTo>
                      <a:pt x="26692" y="18293"/>
                      <a:pt x="26795" y="18121"/>
                      <a:pt x="27019" y="18241"/>
                    </a:cubicBezTo>
                    <a:cubicBezTo>
                      <a:pt x="26989" y="18096"/>
                      <a:pt x="26949" y="17952"/>
                      <a:pt x="26899" y="17812"/>
                    </a:cubicBezTo>
                    <a:cubicBezTo>
                      <a:pt x="26899" y="17812"/>
                      <a:pt x="27053" y="17812"/>
                      <a:pt x="27105" y="17812"/>
                    </a:cubicBezTo>
                    <a:cubicBezTo>
                      <a:pt x="27156" y="17812"/>
                      <a:pt x="27397" y="18001"/>
                      <a:pt x="27500" y="17812"/>
                    </a:cubicBezTo>
                    <a:cubicBezTo>
                      <a:pt x="27259" y="17623"/>
                      <a:pt x="27775" y="17709"/>
                      <a:pt x="27775" y="17606"/>
                    </a:cubicBezTo>
                    <a:cubicBezTo>
                      <a:pt x="27775" y="17503"/>
                      <a:pt x="27860" y="17383"/>
                      <a:pt x="27895" y="17280"/>
                    </a:cubicBezTo>
                    <a:cubicBezTo>
                      <a:pt x="27929" y="17177"/>
                      <a:pt x="28204" y="16988"/>
                      <a:pt x="28444" y="17125"/>
                    </a:cubicBezTo>
                    <a:cubicBezTo>
                      <a:pt x="28273" y="17125"/>
                      <a:pt x="28221" y="16919"/>
                      <a:pt x="28444" y="17125"/>
                    </a:cubicBezTo>
                    <a:cubicBezTo>
                      <a:pt x="28668" y="17331"/>
                      <a:pt x="28324" y="17005"/>
                      <a:pt x="28547" y="17022"/>
                    </a:cubicBezTo>
                    <a:cubicBezTo>
                      <a:pt x="28187" y="16764"/>
                      <a:pt x="28925" y="16112"/>
                      <a:pt x="29286" y="16438"/>
                    </a:cubicBezTo>
                    <a:cubicBezTo>
                      <a:pt x="29028" y="16249"/>
                      <a:pt x="29389" y="16112"/>
                      <a:pt x="29458" y="16438"/>
                    </a:cubicBezTo>
                    <a:cubicBezTo>
                      <a:pt x="29458" y="16197"/>
                      <a:pt x="29458" y="16438"/>
                      <a:pt x="29595" y="16438"/>
                    </a:cubicBezTo>
                    <a:cubicBezTo>
                      <a:pt x="29441" y="16026"/>
                      <a:pt x="29750" y="16232"/>
                      <a:pt x="29956" y="16301"/>
                    </a:cubicBezTo>
                    <a:cubicBezTo>
                      <a:pt x="29389" y="16043"/>
                      <a:pt x="29544" y="15493"/>
                      <a:pt x="29389" y="15115"/>
                    </a:cubicBezTo>
                    <a:cubicBezTo>
                      <a:pt x="29630" y="15115"/>
                      <a:pt x="29527" y="14961"/>
                      <a:pt x="29664" y="15115"/>
                    </a:cubicBezTo>
                    <a:cubicBezTo>
                      <a:pt x="29664" y="14634"/>
                      <a:pt x="29836" y="15115"/>
                      <a:pt x="30025" y="15115"/>
                    </a:cubicBezTo>
                    <a:cubicBezTo>
                      <a:pt x="30025" y="15373"/>
                      <a:pt x="29527" y="15528"/>
                      <a:pt x="29922" y="16009"/>
                    </a:cubicBezTo>
                    <a:cubicBezTo>
                      <a:pt x="29922" y="15888"/>
                      <a:pt x="30334" y="16009"/>
                      <a:pt x="30059" y="16094"/>
                    </a:cubicBezTo>
                    <a:cubicBezTo>
                      <a:pt x="30591" y="16094"/>
                      <a:pt x="30385" y="15768"/>
                      <a:pt x="30883" y="16094"/>
                    </a:cubicBezTo>
                    <a:cubicBezTo>
                      <a:pt x="31124" y="16472"/>
                      <a:pt x="31656" y="15356"/>
                      <a:pt x="32103" y="15768"/>
                    </a:cubicBezTo>
                    <a:cubicBezTo>
                      <a:pt x="31828" y="15768"/>
                      <a:pt x="32103" y="16043"/>
                      <a:pt x="32326" y="15768"/>
                    </a:cubicBezTo>
                    <a:cubicBezTo>
                      <a:pt x="32299" y="15829"/>
                      <a:pt x="32250" y="15878"/>
                      <a:pt x="32189" y="15905"/>
                    </a:cubicBezTo>
                    <a:cubicBezTo>
                      <a:pt x="34078" y="15820"/>
                      <a:pt x="31656" y="15270"/>
                      <a:pt x="32704" y="14497"/>
                    </a:cubicBezTo>
                    <a:cubicBezTo>
                      <a:pt x="33082" y="15081"/>
                      <a:pt x="33202" y="14686"/>
                      <a:pt x="33031" y="14222"/>
                    </a:cubicBezTo>
                    <a:cubicBezTo>
                      <a:pt x="33031" y="14428"/>
                      <a:pt x="32739" y="14222"/>
                      <a:pt x="32842" y="14068"/>
                    </a:cubicBezTo>
                    <a:cubicBezTo>
                      <a:pt x="32532" y="14068"/>
                      <a:pt x="32842" y="13758"/>
                      <a:pt x="32842" y="13690"/>
                    </a:cubicBezTo>
                    <a:cubicBezTo>
                      <a:pt x="32842" y="13621"/>
                      <a:pt x="33082" y="13690"/>
                      <a:pt x="32979" y="13690"/>
                    </a:cubicBezTo>
                    <a:lnTo>
                      <a:pt x="33615" y="13793"/>
                    </a:lnTo>
                    <a:cubicBezTo>
                      <a:pt x="33426" y="13501"/>
                      <a:pt x="33615" y="13690"/>
                      <a:pt x="33752" y="13466"/>
                    </a:cubicBezTo>
                    <a:cubicBezTo>
                      <a:pt x="33889" y="13243"/>
                      <a:pt x="33305" y="13363"/>
                      <a:pt x="33546" y="13192"/>
                    </a:cubicBezTo>
                    <a:cubicBezTo>
                      <a:pt x="33546" y="13192"/>
                      <a:pt x="33426" y="13295"/>
                      <a:pt x="33408" y="13192"/>
                    </a:cubicBezTo>
                    <a:cubicBezTo>
                      <a:pt x="33408" y="13346"/>
                      <a:pt x="33099" y="13363"/>
                      <a:pt x="33031" y="13312"/>
                    </a:cubicBezTo>
                    <a:cubicBezTo>
                      <a:pt x="32962" y="13260"/>
                      <a:pt x="33031" y="13312"/>
                      <a:pt x="33031" y="13312"/>
                    </a:cubicBezTo>
                    <a:cubicBezTo>
                      <a:pt x="33031" y="13312"/>
                      <a:pt x="33031" y="13552"/>
                      <a:pt x="33031" y="13312"/>
                    </a:cubicBezTo>
                    <a:cubicBezTo>
                      <a:pt x="33031" y="13449"/>
                      <a:pt x="32601" y="13466"/>
                      <a:pt x="32567" y="13621"/>
                    </a:cubicBezTo>
                    <a:cubicBezTo>
                      <a:pt x="32567" y="13312"/>
                      <a:pt x="32412" y="13415"/>
                      <a:pt x="32172" y="13260"/>
                    </a:cubicBezTo>
                    <a:cubicBezTo>
                      <a:pt x="31931" y="13106"/>
                      <a:pt x="31691" y="12144"/>
                      <a:pt x="31914" y="12058"/>
                    </a:cubicBezTo>
                    <a:cubicBezTo>
                      <a:pt x="32137" y="11972"/>
                      <a:pt x="31914" y="11972"/>
                      <a:pt x="32017" y="12058"/>
                    </a:cubicBezTo>
                    <a:cubicBezTo>
                      <a:pt x="32120" y="12144"/>
                      <a:pt x="32017" y="11921"/>
                      <a:pt x="32017" y="11817"/>
                    </a:cubicBezTo>
                    <a:cubicBezTo>
                      <a:pt x="32017" y="11714"/>
                      <a:pt x="32240" y="11354"/>
                      <a:pt x="32309" y="11457"/>
                    </a:cubicBezTo>
                    <a:cubicBezTo>
                      <a:pt x="32103" y="11010"/>
                      <a:pt x="31708" y="11148"/>
                      <a:pt x="31502" y="11182"/>
                    </a:cubicBezTo>
                    <a:cubicBezTo>
                      <a:pt x="31622" y="11354"/>
                      <a:pt x="31502" y="11577"/>
                      <a:pt x="31656" y="11714"/>
                    </a:cubicBezTo>
                    <a:cubicBezTo>
                      <a:pt x="31532" y="12056"/>
                      <a:pt x="31318" y="12359"/>
                      <a:pt x="31038" y="12590"/>
                    </a:cubicBezTo>
                    <a:cubicBezTo>
                      <a:pt x="31158" y="12676"/>
                      <a:pt x="31038" y="12848"/>
                      <a:pt x="31175" y="12968"/>
                    </a:cubicBezTo>
                    <a:cubicBezTo>
                      <a:pt x="30883" y="13123"/>
                      <a:pt x="32189" y="13999"/>
                      <a:pt x="31382" y="13793"/>
                    </a:cubicBezTo>
                    <a:cubicBezTo>
                      <a:pt x="31382" y="13793"/>
                      <a:pt x="30901" y="13793"/>
                      <a:pt x="31210" y="13913"/>
                    </a:cubicBezTo>
                    <a:cubicBezTo>
                      <a:pt x="31519" y="14033"/>
                      <a:pt x="31811" y="14119"/>
                      <a:pt x="31485" y="14050"/>
                    </a:cubicBezTo>
                    <a:cubicBezTo>
                      <a:pt x="31485" y="14050"/>
                      <a:pt x="31485" y="14257"/>
                      <a:pt x="31364" y="14188"/>
                    </a:cubicBezTo>
                    <a:cubicBezTo>
                      <a:pt x="31244" y="14119"/>
                      <a:pt x="31467" y="14325"/>
                      <a:pt x="31364" y="14342"/>
                    </a:cubicBezTo>
                    <a:cubicBezTo>
                      <a:pt x="31485" y="14342"/>
                      <a:pt x="31519" y="14600"/>
                      <a:pt x="31364" y="14514"/>
                    </a:cubicBezTo>
                    <a:cubicBezTo>
                      <a:pt x="31502" y="14789"/>
                      <a:pt x="31519" y="15510"/>
                      <a:pt x="31090" y="15236"/>
                    </a:cubicBezTo>
                    <a:cubicBezTo>
                      <a:pt x="30815" y="16301"/>
                      <a:pt x="30059" y="14153"/>
                      <a:pt x="30162" y="14050"/>
                    </a:cubicBezTo>
                    <a:cubicBezTo>
                      <a:pt x="29990" y="13947"/>
                      <a:pt x="29939" y="13844"/>
                      <a:pt x="29939" y="13810"/>
                    </a:cubicBezTo>
                    <a:cubicBezTo>
                      <a:pt x="29958" y="13906"/>
                      <a:pt x="29958" y="14006"/>
                      <a:pt x="29939" y="14102"/>
                    </a:cubicBezTo>
                    <a:cubicBezTo>
                      <a:pt x="29939" y="14102"/>
                      <a:pt x="29939" y="14102"/>
                      <a:pt x="29733" y="13965"/>
                    </a:cubicBezTo>
                    <a:cubicBezTo>
                      <a:pt x="29733" y="14119"/>
                      <a:pt x="29733" y="14360"/>
                      <a:pt x="29595" y="14291"/>
                    </a:cubicBezTo>
                    <a:cubicBezTo>
                      <a:pt x="29733" y="14463"/>
                      <a:pt x="29286" y="14583"/>
                      <a:pt x="29183" y="14428"/>
                    </a:cubicBezTo>
                    <a:cubicBezTo>
                      <a:pt x="29080" y="14549"/>
                      <a:pt x="28651" y="14050"/>
                      <a:pt x="29183" y="14102"/>
                    </a:cubicBezTo>
                    <a:cubicBezTo>
                      <a:pt x="28960" y="14102"/>
                      <a:pt x="29183" y="13999"/>
                      <a:pt x="29011" y="13879"/>
                    </a:cubicBezTo>
                    <a:cubicBezTo>
                      <a:pt x="29011" y="14188"/>
                      <a:pt x="28771" y="13690"/>
                      <a:pt x="29011" y="13879"/>
                    </a:cubicBezTo>
                    <a:cubicBezTo>
                      <a:pt x="29252" y="14068"/>
                      <a:pt x="29011" y="13879"/>
                      <a:pt x="29166" y="13776"/>
                    </a:cubicBezTo>
                    <a:cubicBezTo>
                      <a:pt x="28960" y="13776"/>
                      <a:pt x="29166" y="13449"/>
                      <a:pt x="29166" y="13655"/>
                    </a:cubicBezTo>
                    <a:cubicBezTo>
                      <a:pt x="29118" y="13609"/>
                      <a:pt x="29118" y="13533"/>
                      <a:pt x="29164" y="13485"/>
                    </a:cubicBezTo>
                    <a:cubicBezTo>
                      <a:pt x="29165" y="13485"/>
                      <a:pt x="29165" y="13484"/>
                      <a:pt x="29166" y="13484"/>
                    </a:cubicBezTo>
                    <a:cubicBezTo>
                      <a:pt x="28943" y="13569"/>
                      <a:pt x="28822" y="13724"/>
                      <a:pt x="28943" y="13484"/>
                    </a:cubicBezTo>
                    <a:cubicBezTo>
                      <a:pt x="28788" y="13484"/>
                      <a:pt x="28736" y="13569"/>
                      <a:pt x="28943" y="13381"/>
                    </a:cubicBezTo>
                    <a:cubicBezTo>
                      <a:pt x="28599" y="13243"/>
                      <a:pt x="29544" y="13484"/>
                      <a:pt x="29355" y="13157"/>
                    </a:cubicBezTo>
                    <a:cubicBezTo>
                      <a:pt x="29355" y="13329"/>
                      <a:pt x="28582" y="13295"/>
                      <a:pt x="28994" y="13157"/>
                    </a:cubicBezTo>
                    <a:cubicBezTo>
                      <a:pt x="28651" y="13157"/>
                      <a:pt x="28994" y="13037"/>
                      <a:pt x="29183" y="13020"/>
                    </a:cubicBezTo>
                    <a:cubicBezTo>
                      <a:pt x="28822" y="13020"/>
                      <a:pt x="28754" y="12831"/>
                      <a:pt x="29046" y="12917"/>
                    </a:cubicBezTo>
                    <a:cubicBezTo>
                      <a:pt x="28960" y="12917"/>
                      <a:pt x="29046" y="12779"/>
                      <a:pt x="29183" y="12917"/>
                    </a:cubicBezTo>
                    <a:lnTo>
                      <a:pt x="29183" y="12797"/>
                    </a:lnTo>
                    <a:cubicBezTo>
                      <a:pt x="29183" y="12797"/>
                      <a:pt x="29183" y="12797"/>
                      <a:pt x="29441" y="12797"/>
                    </a:cubicBezTo>
                    <a:cubicBezTo>
                      <a:pt x="29114" y="12797"/>
                      <a:pt x="29303" y="12590"/>
                      <a:pt x="29578" y="12797"/>
                    </a:cubicBezTo>
                    <a:cubicBezTo>
                      <a:pt x="29217" y="12505"/>
                      <a:pt x="29578" y="12797"/>
                      <a:pt x="29578" y="12676"/>
                    </a:cubicBezTo>
                    <a:cubicBezTo>
                      <a:pt x="29578" y="12556"/>
                      <a:pt x="29922" y="12213"/>
                      <a:pt x="29767" y="12676"/>
                    </a:cubicBezTo>
                    <a:cubicBezTo>
                      <a:pt x="30007" y="12539"/>
                      <a:pt x="29973" y="12539"/>
                      <a:pt x="30059" y="12298"/>
                    </a:cubicBezTo>
                    <a:cubicBezTo>
                      <a:pt x="30145" y="12058"/>
                      <a:pt x="29784" y="12814"/>
                      <a:pt x="29801" y="12419"/>
                    </a:cubicBezTo>
                    <a:cubicBezTo>
                      <a:pt x="29664" y="12522"/>
                      <a:pt x="29801" y="12161"/>
                      <a:pt x="29801" y="12195"/>
                    </a:cubicBezTo>
                    <a:cubicBezTo>
                      <a:pt x="29801" y="12230"/>
                      <a:pt x="29990" y="12006"/>
                      <a:pt x="30145" y="11766"/>
                    </a:cubicBezTo>
                    <a:cubicBezTo>
                      <a:pt x="29990" y="11886"/>
                      <a:pt x="30059" y="11525"/>
                      <a:pt x="30145" y="11611"/>
                    </a:cubicBezTo>
                    <a:cubicBezTo>
                      <a:pt x="30231" y="11697"/>
                      <a:pt x="30145" y="11440"/>
                      <a:pt x="30145" y="11525"/>
                    </a:cubicBezTo>
                    <a:cubicBezTo>
                      <a:pt x="30042" y="11319"/>
                      <a:pt x="30145" y="11440"/>
                      <a:pt x="30145" y="11337"/>
                    </a:cubicBezTo>
                    <a:cubicBezTo>
                      <a:pt x="29939" y="11337"/>
                      <a:pt x="30145" y="11233"/>
                      <a:pt x="30025" y="11148"/>
                    </a:cubicBezTo>
                    <a:cubicBezTo>
                      <a:pt x="29904" y="11062"/>
                      <a:pt x="30025" y="10821"/>
                      <a:pt x="30334" y="10976"/>
                    </a:cubicBezTo>
                    <a:cubicBezTo>
                      <a:pt x="30179" y="10890"/>
                      <a:pt x="30111" y="10735"/>
                      <a:pt x="30334" y="10838"/>
                    </a:cubicBezTo>
                    <a:cubicBezTo>
                      <a:pt x="30557" y="10941"/>
                      <a:pt x="30162" y="10701"/>
                      <a:pt x="30334" y="10684"/>
                    </a:cubicBezTo>
                    <a:cubicBezTo>
                      <a:pt x="30042" y="10684"/>
                      <a:pt x="30334" y="10684"/>
                      <a:pt x="30334" y="10478"/>
                    </a:cubicBezTo>
                    <a:cubicBezTo>
                      <a:pt x="30523" y="10478"/>
                      <a:pt x="30488" y="10478"/>
                      <a:pt x="30506" y="10478"/>
                    </a:cubicBezTo>
                    <a:cubicBezTo>
                      <a:pt x="30918" y="10564"/>
                      <a:pt x="30214" y="10323"/>
                      <a:pt x="30506" y="10323"/>
                    </a:cubicBezTo>
                    <a:cubicBezTo>
                      <a:pt x="30506" y="10323"/>
                      <a:pt x="30506" y="10220"/>
                      <a:pt x="30506" y="10220"/>
                    </a:cubicBezTo>
                    <a:cubicBezTo>
                      <a:pt x="30506" y="10220"/>
                      <a:pt x="30506" y="9911"/>
                      <a:pt x="30609" y="10117"/>
                    </a:cubicBezTo>
                    <a:cubicBezTo>
                      <a:pt x="30712" y="10323"/>
                      <a:pt x="30609" y="10117"/>
                      <a:pt x="30609" y="10117"/>
                    </a:cubicBezTo>
                    <a:cubicBezTo>
                      <a:pt x="30385" y="9980"/>
                      <a:pt x="30609" y="10014"/>
                      <a:pt x="30609" y="10117"/>
                    </a:cubicBezTo>
                    <a:cubicBezTo>
                      <a:pt x="30609" y="10220"/>
                      <a:pt x="30609" y="9773"/>
                      <a:pt x="30609" y="10117"/>
                    </a:cubicBezTo>
                    <a:cubicBezTo>
                      <a:pt x="30609" y="9670"/>
                      <a:pt x="30609" y="10237"/>
                      <a:pt x="30798" y="10117"/>
                    </a:cubicBezTo>
                    <a:cubicBezTo>
                      <a:pt x="30609" y="9773"/>
                      <a:pt x="31021" y="10117"/>
                      <a:pt x="30798" y="9739"/>
                    </a:cubicBezTo>
                    <a:cubicBezTo>
                      <a:pt x="30901" y="9739"/>
                      <a:pt x="31038" y="9911"/>
                      <a:pt x="31124" y="9894"/>
                    </a:cubicBezTo>
                    <a:cubicBezTo>
                      <a:pt x="31210" y="9877"/>
                      <a:pt x="31124" y="9602"/>
                      <a:pt x="31124" y="9619"/>
                    </a:cubicBezTo>
                    <a:cubicBezTo>
                      <a:pt x="31124" y="9636"/>
                      <a:pt x="30969" y="9464"/>
                      <a:pt x="31124" y="9619"/>
                    </a:cubicBezTo>
                    <a:cubicBezTo>
                      <a:pt x="31279" y="9773"/>
                      <a:pt x="31124" y="9499"/>
                      <a:pt x="31124" y="9619"/>
                    </a:cubicBezTo>
                    <a:cubicBezTo>
                      <a:pt x="31244" y="9447"/>
                      <a:pt x="31279" y="10426"/>
                      <a:pt x="31261" y="9619"/>
                    </a:cubicBezTo>
                    <a:cubicBezTo>
                      <a:pt x="31536" y="10134"/>
                      <a:pt x="31261" y="9516"/>
                      <a:pt x="31450" y="9499"/>
                    </a:cubicBezTo>
                    <a:cubicBezTo>
                      <a:pt x="31639" y="9481"/>
                      <a:pt x="31450" y="9653"/>
                      <a:pt x="31553" y="9842"/>
                    </a:cubicBezTo>
                    <a:cubicBezTo>
                      <a:pt x="31656" y="10031"/>
                      <a:pt x="31639" y="9842"/>
                      <a:pt x="31674" y="9842"/>
                    </a:cubicBezTo>
                    <a:cubicBezTo>
                      <a:pt x="31502" y="9499"/>
                      <a:pt x="31863" y="9688"/>
                      <a:pt x="31845" y="9842"/>
                    </a:cubicBezTo>
                    <a:cubicBezTo>
                      <a:pt x="32172" y="9842"/>
                      <a:pt x="32051" y="10134"/>
                      <a:pt x="31742" y="10031"/>
                    </a:cubicBezTo>
                    <a:cubicBezTo>
                      <a:pt x="31845" y="10031"/>
                      <a:pt x="31948" y="10031"/>
                      <a:pt x="32000" y="10220"/>
                    </a:cubicBezTo>
                    <a:cubicBezTo>
                      <a:pt x="32051" y="10409"/>
                      <a:pt x="32120" y="10083"/>
                      <a:pt x="32275" y="10220"/>
                    </a:cubicBezTo>
                    <a:cubicBezTo>
                      <a:pt x="32275" y="10100"/>
                      <a:pt x="32275" y="10117"/>
                      <a:pt x="32275" y="10048"/>
                    </a:cubicBezTo>
                    <a:cubicBezTo>
                      <a:pt x="32275" y="9980"/>
                      <a:pt x="32653" y="10306"/>
                      <a:pt x="32378" y="10048"/>
                    </a:cubicBezTo>
                    <a:cubicBezTo>
                      <a:pt x="32378" y="10237"/>
                      <a:pt x="32567" y="10048"/>
                      <a:pt x="32584" y="10220"/>
                    </a:cubicBezTo>
                    <a:cubicBezTo>
                      <a:pt x="32601" y="10392"/>
                      <a:pt x="33220" y="10220"/>
                      <a:pt x="33683" y="10529"/>
                    </a:cubicBezTo>
                    <a:cubicBezTo>
                      <a:pt x="33563" y="10392"/>
                      <a:pt x="34044" y="10735"/>
                      <a:pt x="33804" y="10529"/>
                    </a:cubicBezTo>
                    <a:cubicBezTo>
                      <a:pt x="34697" y="10838"/>
                      <a:pt x="34611" y="11852"/>
                      <a:pt x="33597" y="11354"/>
                    </a:cubicBezTo>
                    <a:cubicBezTo>
                      <a:pt x="33477" y="11354"/>
                      <a:pt x="33477" y="11354"/>
                      <a:pt x="33426" y="11354"/>
                    </a:cubicBezTo>
                    <a:cubicBezTo>
                      <a:pt x="33374" y="11354"/>
                      <a:pt x="32910" y="11096"/>
                      <a:pt x="33065" y="11354"/>
                    </a:cubicBezTo>
                    <a:cubicBezTo>
                      <a:pt x="33220" y="11611"/>
                      <a:pt x="33460" y="11491"/>
                      <a:pt x="33357" y="11663"/>
                    </a:cubicBezTo>
                    <a:cubicBezTo>
                      <a:pt x="33632" y="11663"/>
                      <a:pt x="34834" y="13277"/>
                      <a:pt x="34576" y="12333"/>
                    </a:cubicBezTo>
                    <a:cubicBezTo>
                      <a:pt x="34388" y="12505"/>
                      <a:pt x="34113" y="12058"/>
                      <a:pt x="34250" y="12006"/>
                    </a:cubicBezTo>
                    <a:cubicBezTo>
                      <a:pt x="35693" y="12917"/>
                      <a:pt x="33975" y="11148"/>
                      <a:pt x="34972" y="11474"/>
                    </a:cubicBezTo>
                    <a:cubicBezTo>
                      <a:pt x="34972" y="11337"/>
                      <a:pt x="35092" y="11474"/>
                      <a:pt x="35143" y="11474"/>
                    </a:cubicBezTo>
                    <a:cubicBezTo>
                      <a:pt x="34895" y="11040"/>
                      <a:pt x="34569" y="10656"/>
                      <a:pt x="34181" y="10340"/>
                    </a:cubicBezTo>
                    <a:cubicBezTo>
                      <a:pt x="34491" y="10340"/>
                      <a:pt x="34972" y="10443"/>
                      <a:pt x="34800" y="10753"/>
                    </a:cubicBezTo>
                    <a:cubicBezTo>
                      <a:pt x="35195" y="11354"/>
                      <a:pt x="35349" y="10753"/>
                      <a:pt x="35143" y="10529"/>
                    </a:cubicBezTo>
                    <a:cubicBezTo>
                      <a:pt x="35315" y="10529"/>
                      <a:pt x="35143" y="9945"/>
                      <a:pt x="35401" y="10289"/>
                    </a:cubicBezTo>
                    <a:cubicBezTo>
                      <a:pt x="35401" y="10186"/>
                      <a:pt x="35178" y="9980"/>
                      <a:pt x="35401" y="10151"/>
                    </a:cubicBezTo>
                    <a:cubicBezTo>
                      <a:pt x="35229" y="9705"/>
                      <a:pt x="35521" y="10151"/>
                      <a:pt x="35727" y="10306"/>
                    </a:cubicBezTo>
                    <a:cubicBezTo>
                      <a:pt x="35727" y="10203"/>
                      <a:pt x="35727" y="10169"/>
                      <a:pt x="35727" y="10306"/>
                    </a:cubicBezTo>
                    <a:cubicBezTo>
                      <a:pt x="35504" y="10048"/>
                      <a:pt x="35882" y="10134"/>
                      <a:pt x="35830" y="9842"/>
                    </a:cubicBezTo>
                    <a:cubicBezTo>
                      <a:pt x="35951" y="9997"/>
                      <a:pt x="36311" y="10272"/>
                      <a:pt x="36019" y="9945"/>
                    </a:cubicBezTo>
                    <a:cubicBezTo>
                      <a:pt x="36191" y="9945"/>
                      <a:pt x="35916" y="9791"/>
                      <a:pt x="36122" y="9945"/>
                    </a:cubicBezTo>
                    <a:cubicBezTo>
                      <a:pt x="36035" y="9882"/>
                      <a:pt x="35943" y="9824"/>
                      <a:pt x="35848" y="9773"/>
                    </a:cubicBezTo>
                    <a:lnTo>
                      <a:pt x="35848" y="9773"/>
                    </a:lnTo>
                    <a:cubicBezTo>
                      <a:pt x="35057" y="9155"/>
                      <a:pt x="36586" y="9619"/>
                      <a:pt x="36981" y="9894"/>
                    </a:cubicBezTo>
                    <a:cubicBezTo>
                      <a:pt x="36792" y="9619"/>
                      <a:pt x="36517" y="9567"/>
                      <a:pt x="36260" y="9361"/>
                    </a:cubicBezTo>
                    <a:lnTo>
                      <a:pt x="36260" y="9361"/>
                    </a:lnTo>
                    <a:cubicBezTo>
                      <a:pt x="36260" y="9361"/>
                      <a:pt x="36260" y="9361"/>
                      <a:pt x="36140" y="9361"/>
                    </a:cubicBezTo>
                    <a:lnTo>
                      <a:pt x="36140" y="9361"/>
                    </a:lnTo>
                    <a:lnTo>
                      <a:pt x="35882" y="9155"/>
                    </a:lnTo>
                    <a:cubicBezTo>
                      <a:pt x="36019" y="9155"/>
                      <a:pt x="35624" y="8983"/>
                      <a:pt x="35727" y="8983"/>
                    </a:cubicBezTo>
                    <a:cubicBezTo>
                      <a:pt x="35504" y="8880"/>
                      <a:pt x="34353" y="7918"/>
                      <a:pt x="34594" y="7884"/>
                    </a:cubicBezTo>
                    <a:cubicBezTo>
                      <a:pt x="35435" y="8193"/>
                      <a:pt x="36311" y="9086"/>
                      <a:pt x="37136" y="9602"/>
                    </a:cubicBezTo>
                    <a:lnTo>
                      <a:pt x="37136" y="9602"/>
                    </a:lnTo>
                    <a:cubicBezTo>
                      <a:pt x="37389" y="9800"/>
                      <a:pt x="37614" y="10031"/>
                      <a:pt x="37806" y="10289"/>
                    </a:cubicBezTo>
                    <a:lnTo>
                      <a:pt x="37806" y="10289"/>
                    </a:lnTo>
                    <a:cubicBezTo>
                      <a:pt x="37995" y="10409"/>
                      <a:pt x="37977" y="10581"/>
                      <a:pt x="37806" y="10289"/>
                    </a:cubicBezTo>
                    <a:cubicBezTo>
                      <a:pt x="37806" y="10289"/>
                      <a:pt x="37479" y="10289"/>
                      <a:pt x="37703" y="10426"/>
                    </a:cubicBezTo>
                    <a:cubicBezTo>
                      <a:pt x="38939" y="10701"/>
                      <a:pt x="37256" y="9619"/>
                      <a:pt x="37101" y="9275"/>
                    </a:cubicBezTo>
                    <a:cubicBezTo>
                      <a:pt x="37101" y="9275"/>
                      <a:pt x="37101" y="9275"/>
                      <a:pt x="37101" y="9275"/>
                    </a:cubicBezTo>
                    <a:cubicBezTo>
                      <a:pt x="36284" y="8916"/>
                      <a:pt x="35525" y="8435"/>
                      <a:pt x="34851" y="7850"/>
                    </a:cubicBezTo>
                    <a:cubicBezTo>
                      <a:pt x="35229" y="8021"/>
                      <a:pt x="35573" y="8399"/>
                      <a:pt x="35933" y="8451"/>
                    </a:cubicBezTo>
                    <a:cubicBezTo>
                      <a:pt x="35796" y="8262"/>
                      <a:pt x="36208" y="8571"/>
                      <a:pt x="36105" y="8451"/>
                    </a:cubicBezTo>
                    <a:cubicBezTo>
                      <a:pt x="35827" y="8436"/>
                      <a:pt x="35564" y="8320"/>
                      <a:pt x="35367" y="8125"/>
                    </a:cubicBezTo>
                    <a:cubicBezTo>
                      <a:pt x="35727" y="8279"/>
                      <a:pt x="35367" y="8125"/>
                      <a:pt x="35367" y="8039"/>
                    </a:cubicBezTo>
                    <a:lnTo>
                      <a:pt x="35367" y="8039"/>
                    </a:lnTo>
                    <a:cubicBezTo>
                      <a:pt x="34886" y="7455"/>
                      <a:pt x="37084" y="8880"/>
                      <a:pt x="36363" y="8331"/>
                    </a:cubicBezTo>
                    <a:cubicBezTo>
                      <a:pt x="36637" y="8531"/>
                      <a:pt x="36938" y="8693"/>
                      <a:pt x="37256" y="8812"/>
                    </a:cubicBezTo>
                    <a:cubicBezTo>
                      <a:pt x="36947" y="8605"/>
                      <a:pt x="37256" y="8691"/>
                      <a:pt x="37428" y="8812"/>
                    </a:cubicBezTo>
                    <a:cubicBezTo>
                      <a:pt x="37325" y="8709"/>
                      <a:pt x="37033" y="8588"/>
                      <a:pt x="37101" y="8709"/>
                    </a:cubicBezTo>
                    <a:cubicBezTo>
                      <a:pt x="36569" y="8468"/>
                      <a:pt x="36019" y="8056"/>
                      <a:pt x="35384" y="7798"/>
                    </a:cubicBezTo>
                    <a:cubicBezTo>
                      <a:pt x="35212" y="7798"/>
                      <a:pt x="34405" y="7403"/>
                      <a:pt x="34525" y="7231"/>
                    </a:cubicBezTo>
                    <a:cubicBezTo>
                      <a:pt x="34284" y="6922"/>
                      <a:pt x="34697" y="7334"/>
                      <a:pt x="34851" y="7317"/>
                    </a:cubicBezTo>
                    <a:cubicBezTo>
                      <a:pt x="34628" y="7317"/>
                      <a:pt x="34491" y="7042"/>
                      <a:pt x="34267" y="7008"/>
                    </a:cubicBezTo>
                    <a:cubicBezTo>
                      <a:pt x="34044" y="6974"/>
                      <a:pt x="34061" y="7008"/>
                      <a:pt x="34027" y="6922"/>
                    </a:cubicBezTo>
                    <a:cubicBezTo>
                      <a:pt x="33992" y="6836"/>
                      <a:pt x="34130" y="6922"/>
                      <a:pt x="34027" y="6922"/>
                    </a:cubicBezTo>
                    <a:cubicBezTo>
                      <a:pt x="33924" y="6922"/>
                      <a:pt x="33838" y="6836"/>
                      <a:pt x="33872" y="6922"/>
                    </a:cubicBezTo>
                    <a:cubicBezTo>
                      <a:pt x="33907" y="7008"/>
                      <a:pt x="33683" y="6802"/>
                      <a:pt x="33872" y="6922"/>
                    </a:cubicBezTo>
                    <a:lnTo>
                      <a:pt x="33615" y="6768"/>
                    </a:lnTo>
                    <a:cubicBezTo>
                      <a:pt x="33615" y="6768"/>
                      <a:pt x="33615" y="6768"/>
                      <a:pt x="33615" y="6768"/>
                    </a:cubicBezTo>
                    <a:lnTo>
                      <a:pt x="33168" y="6458"/>
                    </a:lnTo>
                    <a:lnTo>
                      <a:pt x="33168" y="6458"/>
                    </a:lnTo>
                    <a:cubicBezTo>
                      <a:pt x="33086" y="6395"/>
                      <a:pt x="33000" y="6338"/>
                      <a:pt x="32910" y="6287"/>
                    </a:cubicBez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910" y="6287"/>
                    </a:lnTo>
                    <a:lnTo>
                      <a:pt x="32687" y="6184"/>
                    </a:lnTo>
                    <a:lnTo>
                      <a:pt x="32687" y="6184"/>
                    </a:lnTo>
                    <a:cubicBezTo>
                      <a:pt x="32687" y="6184"/>
                      <a:pt x="32515" y="6184"/>
                      <a:pt x="32687" y="6184"/>
                    </a:cubicBezTo>
                    <a:lnTo>
                      <a:pt x="32687" y="6184"/>
                    </a:lnTo>
                    <a:lnTo>
                      <a:pt x="32687" y="6184"/>
                    </a:lnTo>
                    <a:lnTo>
                      <a:pt x="32962" y="6287"/>
                    </a:lnTo>
                    <a:lnTo>
                      <a:pt x="32739" y="6184"/>
                    </a:lnTo>
                    <a:lnTo>
                      <a:pt x="32893" y="6184"/>
                    </a:lnTo>
                    <a:lnTo>
                      <a:pt x="32807" y="6184"/>
                    </a:lnTo>
                    <a:cubicBezTo>
                      <a:pt x="32762" y="6174"/>
                      <a:pt x="32715" y="6174"/>
                      <a:pt x="32670" y="6184"/>
                    </a:cubicBezTo>
                    <a:lnTo>
                      <a:pt x="32670" y="6184"/>
                    </a:lnTo>
                    <a:cubicBezTo>
                      <a:pt x="32625" y="6193"/>
                      <a:pt x="32578" y="6193"/>
                      <a:pt x="32532" y="6184"/>
                    </a:cubicBezTo>
                    <a:lnTo>
                      <a:pt x="32876" y="6304"/>
                    </a:lnTo>
                    <a:cubicBezTo>
                      <a:pt x="32750" y="6242"/>
                      <a:pt x="32618" y="6196"/>
                      <a:pt x="32481" y="6166"/>
                    </a:cubicBezTo>
                    <a:lnTo>
                      <a:pt x="32481" y="6166"/>
                    </a:lnTo>
                    <a:cubicBezTo>
                      <a:pt x="32481" y="6166"/>
                      <a:pt x="32292" y="6166"/>
                      <a:pt x="32343" y="6166"/>
                    </a:cubicBezTo>
                    <a:cubicBezTo>
                      <a:pt x="32395" y="6166"/>
                      <a:pt x="32343" y="6166"/>
                      <a:pt x="32343" y="6166"/>
                    </a:cubicBezTo>
                    <a:lnTo>
                      <a:pt x="32343" y="6166"/>
                    </a:lnTo>
                    <a:lnTo>
                      <a:pt x="32206" y="6166"/>
                    </a:lnTo>
                    <a:lnTo>
                      <a:pt x="32206" y="6166"/>
                    </a:lnTo>
                    <a:lnTo>
                      <a:pt x="31742" y="6029"/>
                    </a:lnTo>
                    <a:lnTo>
                      <a:pt x="31742" y="6029"/>
                    </a:lnTo>
                    <a:cubicBezTo>
                      <a:pt x="31571" y="6029"/>
                      <a:pt x="30763" y="5720"/>
                      <a:pt x="30952" y="5754"/>
                    </a:cubicBezTo>
                    <a:lnTo>
                      <a:pt x="30952" y="5754"/>
                    </a:lnTo>
                    <a:lnTo>
                      <a:pt x="31055" y="5754"/>
                    </a:lnTo>
                    <a:lnTo>
                      <a:pt x="31055" y="5754"/>
                    </a:lnTo>
                    <a:cubicBezTo>
                      <a:pt x="31244" y="5754"/>
                      <a:pt x="31416" y="5857"/>
                      <a:pt x="31605" y="5909"/>
                    </a:cubicBezTo>
                    <a:lnTo>
                      <a:pt x="31416" y="5909"/>
                    </a:lnTo>
                    <a:lnTo>
                      <a:pt x="31588" y="5909"/>
                    </a:lnTo>
                    <a:lnTo>
                      <a:pt x="31485" y="5909"/>
                    </a:lnTo>
                    <a:cubicBezTo>
                      <a:pt x="31588" y="5909"/>
                      <a:pt x="31364" y="5909"/>
                      <a:pt x="31485" y="5909"/>
                    </a:cubicBezTo>
                    <a:lnTo>
                      <a:pt x="31485" y="5909"/>
                    </a:lnTo>
                    <a:cubicBezTo>
                      <a:pt x="31794" y="5995"/>
                      <a:pt x="32481" y="6201"/>
                      <a:pt x="31811" y="5909"/>
                    </a:cubicBezTo>
                    <a:lnTo>
                      <a:pt x="31811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1708" y="5909"/>
                    </a:lnTo>
                    <a:lnTo>
                      <a:pt x="32292" y="6046"/>
                    </a:lnTo>
                    <a:lnTo>
                      <a:pt x="32051" y="6046"/>
                    </a:lnTo>
                    <a:lnTo>
                      <a:pt x="32378" y="6046"/>
                    </a:lnTo>
                    <a:lnTo>
                      <a:pt x="32635" y="6046"/>
                    </a:lnTo>
                    <a:lnTo>
                      <a:pt x="32635" y="6046"/>
                    </a:lnTo>
                    <a:cubicBezTo>
                      <a:pt x="32412" y="6046"/>
                      <a:pt x="32635" y="6046"/>
                      <a:pt x="32773" y="6046"/>
                    </a:cubicBezTo>
                    <a:lnTo>
                      <a:pt x="32773" y="6046"/>
                    </a:lnTo>
                    <a:lnTo>
                      <a:pt x="32773" y="6046"/>
                    </a:lnTo>
                    <a:cubicBezTo>
                      <a:pt x="33198" y="6156"/>
                      <a:pt x="33612" y="6306"/>
                      <a:pt x="34010" y="6493"/>
                    </a:cubicBezTo>
                    <a:cubicBezTo>
                      <a:pt x="34010" y="6493"/>
                      <a:pt x="34010" y="6493"/>
                      <a:pt x="34010" y="6493"/>
                    </a:cubicBezTo>
                    <a:cubicBezTo>
                      <a:pt x="34010" y="6493"/>
                      <a:pt x="34456" y="6665"/>
                      <a:pt x="34645" y="6768"/>
                    </a:cubicBezTo>
                    <a:lnTo>
                      <a:pt x="34645" y="6768"/>
                    </a:lnTo>
                    <a:lnTo>
                      <a:pt x="35470" y="7163"/>
                    </a:lnTo>
                    <a:cubicBezTo>
                      <a:pt x="35212" y="7025"/>
                      <a:pt x="34954" y="6871"/>
                      <a:pt x="34662" y="6733"/>
                    </a:cubicBezTo>
                    <a:lnTo>
                      <a:pt x="34662" y="6733"/>
                    </a:lnTo>
                    <a:lnTo>
                      <a:pt x="34353" y="6596"/>
                    </a:lnTo>
                    <a:lnTo>
                      <a:pt x="34491" y="6596"/>
                    </a:lnTo>
                    <a:cubicBezTo>
                      <a:pt x="34491" y="6596"/>
                      <a:pt x="34044" y="6441"/>
                      <a:pt x="34250" y="6493"/>
                    </a:cubicBezTo>
                    <a:lnTo>
                      <a:pt x="34113" y="6493"/>
                    </a:lnTo>
                    <a:lnTo>
                      <a:pt x="34422" y="6596"/>
                    </a:lnTo>
                    <a:cubicBezTo>
                      <a:pt x="34327" y="6538"/>
                      <a:pt x="34222" y="6497"/>
                      <a:pt x="34113" y="6476"/>
                    </a:cubicBezTo>
                    <a:cubicBezTo>
                      <a:pt x="34287" y="6517"/>
                      <a:pt x="34459" y="6568"/>
                      <a:pt x="34628" y="6630"/>
                    </a:cubicBezTo>
                    <a:lnTo>
                      <a:pt x="34473" y="6630"/>
                    </a:lnTo>
                    <a:lnTo>
                      <a:pt x="34473" y="6630"/>
                    </a:lnTo>
                    <a:lnTo>
                      <a:pt x="33700" y="4827"/>
                    </a:lnTo>
                    <a:cubicBezTo>
                      <a:pt x="42679" y="7791"/>
                      <a:pt x="48892" y="15993"/>
                      <a:pt x="49314" y="25438"/>
                    </a:cubicBezTo>
                    <a:cubicBezTo>
                      <a:pt x="49301" y="25780"/>
                      <a:pt x="49255" y="26119"/>
                      <a:pt x="49177" y="26452"/>
                    </a:cubicBezTo>
                    <a:cubicBezTo>
                      <a:pt x="49245" y="26349"/>
                      <a:pt x="49159" y="26538"/>
                      <a:pt x="49159" y="26589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FC7ED54-A193-4F93-98BD-A9F95F53F901}"/>
                  </a:ext>
                </a:extLst>
              </p:cNvPr>
              <p:cNvSpPr/>
              <p:nvPr/>
            </p:nvSpPr>
            <p:spPr>
              <a:xfrm rot="16200000">
                <a:off x="12026199" y="6563439"/>
                <a:ext cx="13277" cy="68070"/>
              </a:xfrm>
              <a:custGeom>
                <a:avLst/>
                <a:gdLst>
                  <a:gd name="connsiteX0" fmla="*/ 13277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7 w 13277"/>
                  <a:gd name="connsiteY3" fmla="*/ 0 h 68070"/>
                  <a:gd name="connsiteX4" fmla="*/ 0 w 13277"/>
                  <a:gd name="connsiteY4" fmla="*/ 17984 h 68070"/>
                  <a:gd name="connsiteX5" fmla="*/ 13277 w 13277"/>
                  <a:gd name="connsiteY5" fmla="*/ 17984 h 68070"/>
                  <a:gd name="connsiteX6" fmla="*/ 13277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7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7" y="0"/>
                    </a:lnTo>
                    <a:close/>
                    <a:moveTo>
                      <a:pt x="0" y="17984"/>
                    </a:moveTo>
                    <a:lnTo>
                      <a:pt x="13277" y="17984"/>
                    </a:lnTo>
                    <a:lnTo>
                      <a:pt x="13277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1CD3797-433D-4591-AF9B-5A6A6CF23E51}"/>
                  </a:ext>
                </a:extLst>
              </p:cNvPr>
              <p:cNvSpPr/>
              <p:nvPr/>
            </p:nvSpPr>
            <p:spPr>
              <a:xfrm rot="16200000">
                <a:off x="12018640" y="6529825"/>
                <a:ext cx="45208" cy="51256"/>
              </a:xfrm>
              <a:custGeom>
                <a:avLst/>
                <a:gdLst>
                  <a:gd name="connsiteX0" fmla="*/ 40279 w 45208"/>
                  <a:gd name="connsiteY0" fmla="*/ 4038 h 51256"/>
                  <a:gd name="connsiteX1" fmla="*/ 45209 w 45208"/>
                  <a:gd name="connsiteY1" fmla="*/ 17521 h 51256"/>
                  <a:gd name="connsiteX2" fmla="*/ 45209 w 45208"/>
                  <a:gd name="connsiteY2" fmla="*/ 51256 h 51256"/>
                  <a:gd name="connsiteX3" fmla="*/ 31794 w 45208"/>
                  <a:gd name="connsiteY3" fmla="*/ 51256 h 51256"/>
                  <a:gd name="connsiteX4" fmla="*/ 31794 w 45208"/>
                  <a:gd name="connsiteY4" fmla="*/ 20785 h 51256"/>
                  <a:gd name="connsiteX5" fmla="*/ 30746 w 45208"/>
                  <a:gd name="connsiteY5" fmla="*/ 14722 h 51256"/>
                  <a:gd name="connsiteX6" fmla="*/ 23446 w 45208"/>
                  <a:gd name="connsiteY6" fmla="*/ 10874 h 51256"/>
                  <a:gd name="connsiteX7" fmla="*/ 14360 w 45208"/>
                  <a:gd name="connsiteY7" fmla="*/ 16525 h 51256"/>
                  <a:gd name="connsiteX8" fmla="*/ 13089 w 45208"/>
                  <a:gd name="connsiteY8" fmla="*/ 24152 h 51256"/>
                  <a:gd name="connsiteX9" fmla="*/ 13089 w 45208"/>
                  <a:gd name="connsiteY9" fmla="*/ 51256 h 51256"/>
                  <a:gd name="connsiteX10" fmla="*/ 0 w 45208"/>
                  <a:gd name="connsiteY10" fmla="*/ 51256 h 51256"/>
                  <a:gd name="connsiteX11" fmla="*/ 0 w 45208"/>
                  <a:gd name="connsiteY11" fmla="*/ 1272 h 51256"/>
                  <a:gd name="connsiteX12" fmla="*/ 12676 w 45208"/>
                  <a:gd name="connsiteY12" fmla="*/ 1272 h 51256"/>
                  <a:gd name="connsiteX13" fmla="*/ 12676 w 45208"/>
                  <a:gd name="connsiteY13" fmla="*/ 8607 h 51256"/>
                  <a:gd name="connsiteX14" fmla="*/ 17434 w 45208"/>
                  <a:gd name="connsiteY14" fmla="*/ 3042 h 51256"/>
                  <a:gd name="connsiteX15" fmla="*/ 27637 w 45208"/>
                  <a:gd name="connsiteY15" fmla="*/ 19 h 51256"/>
                  <a:gd name="connsiteX16" fmla="*/ 40279 w 45208"/>
                  <a:gd name="connsiteY16" fmla="*/ 4038 h 5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6">
                    <a:moveTo>
                      <a:pt x="40279" y="4038"/>
                    </a:moveTo>
                    <a:cubicBezTo>
                      <a:pt x="43565" y="6752"/>
                      <a:pt x="45209" y="11246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892" y="18712"/>
                      <a:pt x="31535" y="16642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09" y="10574"/>
                      <a:pt x="15832" y="12861"/>
                      <a:pt x="14360" y="16525"/>
                    </a:cubicBezTo>
                    <a:cubicBezTo>
                      <a:pt x="13437" y="18959"/>
                      <a:pt x="13005" y="21550"/>
                      <a:pt x="13089" y="24152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39" y="6498"/>
                      <a:pt x="15548" y="4617"/>
                      <a:pt x="17434" y="3042"/>
                    </a:cubicBezTo>
                    <a:cubicBezTo>
                      <a:pt x="20409" y="938"/>
                      <a:pt x="23996" y="-125"/>
                      <a:pt x="27637" y="19"/>
                    </a:cubicBezTo>
                    <a:cubicBezTo>
                      <a:pt x="32194" y="-181"/>
                      <a:pt x="36674" y="1243"/>
                      <a:pt x="40279" y="4038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4C1BB38-5735-40B9-BFAD-56E5CBF32645}"/>
                  </a:ext>
                </a:extLst>
              </p:cNvPr>
              <p:cNvSpPr/>
              <p:nvPr/>
            </p:nvSpPr>
            <p:spPr>
              <a:xfrm rot="16200000">
                <a:off x="12018195" y="6477145"/>
                <a:ext cx="28942" cy="68414"/>
              </a:xfrm>
              <a:custGeom>
                <a:avLst/>
                <a:gdLst>
                  <a:gd name="connsiteX0" fmla="*/ 25868 w 28942"/>
                  <a:gd name="connsiteY0" fmla="*/ 0 h 68414"/>
                  <a:gd name="connsiteX1" fmla="*/ 28616 w 28942"/>
                  <a:gd name="connsiteY1" fmla="*/ 206 h 68414"/>
                  <a:gd name="connsiteX2" fmla="*/ 28616 w 28942"/>
                  <a:gd name="connsiteY2" fmla="*/ 10941 h 68414"/>
                  <a:gd name="connsiteX3" fmla="*/ 24923 w 28942"/>
                  <a:gd name="connsiteY3" fmla="*/ 10735 h 68414"/>
                  <a:gd name="connsiteX4" fmla="*/ 21333 w 28942"/>
                  <a:gd name="connsiteY4" fmla="*/ 11869 h 68414"/>
                  <a:gd name="connsiteX5" fmla="*/ 20354 w 28942"/>
                  <a:gd name="connsiteY5" fmla="*/ 14566 h 68414"/>
                  <a:gd name="connsiteX6" fmla="*/ 20354 w 28942"/>
                  <a:gd name="connsiteY6" fmla="*/ 18791 h 68414"/>
                  <a:gd name="connsiteX7" fmla="*/ 28943 w 28942"/>
                  <a:gd name="connsiteY7" fmla="*/ 18791 h 68414"/>
                  <a:gd name="connsiteX8" fmla="*/ 28943 w 28942"/>
                  <a:gd name="connsiteY8" fmla="*/ 28032 h 68414"/>
                  <a:gd name="connsiteX9" fmla="*/ 20354 w 28942"/>
                  <a:gd name="connsiteY9" fmla="*/ 28032 h 68414"/>
                  <a:gd name="connsiteX10" fmla="*/ 20354 w 28942"/>
                  <a:gd name="connsiteY10" fmla="*/ 68414 h 68414"/>
                  <a:gd name="connsiteX11" fmla="*/ 7352 w 28942"/>
                  <a:gd name="connsiteY11" fmla="*/ 68414 h 68414"/>
                  <a:gd name="connsiteX12" fmla="*/ 7352 w 28942"/>
                  <a:gd name="connsiteY12" fmla="*/ 28032 h 68414"/>
                  <a:gd name="connsiteX13" fmla="*/ 0 w 28942"/>
                  <a:gd name="connsiteY13" fmla="*/ 28032 h 68414"/>
                  <a:gd name="connsiteX14" fmla="*/ 0 w 28942"/>
                  <a:gd name="connsiteY14" fmla="*/ 18791 h 68414"/>
                  <a:gd name="connsiteX15" fmla="*/ 7163 w 28942"/>
                  <a:gd name="connsiteY15" fmla="*/ 18791 h 68414"/>
                  <a:gd name="connsiteX16" fmla="*/ 7163 w 28942"/>
                  <a:gd name="connsiteY16" fmla="*/ 15579 h 68414"/>
                  <a:gd name="connsiteX17" fmla="*/ 9877 w 28942"/>
                  <a:gd name="connsiteY17" fmla="*/ 4500 h 68414"/>
                  <a:gd name="connsiteX18" fmla="*/ 23618 w 28942"/>
                  <a:gd name="connsiteY18" fmla="*/ 0 h 68414"/>
                  <a:gd name="connsiteX19" fmla="*/ 25868 w 28942"/>
                  <a:gd name="connsiteY19" fmla="*/ 0 h 68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42" h="68414">
                    <a:moveTo>
                      <a:pt x="25868" y="0"/>
                    </a:moveTo>
                    <a:lnTo>
                      <a:pt x="28616" y="206"/>
                    </a:lnTo>
                    <a:lnTo>
                      <a:pt x="28616" y="10941"/>
                    </a:lnTo>
                    <a:cubicBezTo>
                      <a:pt x="27390" y="10808"/>
                      <a:pt x="26157" y="10739"/>
                      <a:pt x="24923" y="10735"/>
                    </a:cubicBezTo>
                    <a:cubicBezTo>
                      <a:pt x="23616" y="10538"/>
                      <a:pt x="22290" y="10956"/>
                      <a:pt x="21333" y="11869"/>
                    </a:cubicBezTo>
                    <a:cubicBezTo>
                      <a:pt x="20704" y="12627"/>
                      <a:pt x="20358" y="13580"/>
                      <a:pt x="20354" y="14566"/>
                    </a:cubicBezTo>
                    <a:lnTo>
                      <a:pt x="20354" y="18791"/>
                    </a:lnTo>
                    <a:lnTo>
                      <a:pt x="28943" y="18791"/>
                    </a:lnTo>
                    <a:lnTo>
                      <a:pt x="28943" y="28032"/>
                    </a:lnTo>
                    <a:lnTo>
                      <a:pt x="20354" y="28032"/>
                    </a:lnTo>
                    <a:lnTo>
                      <a:pt x="20354" y="68414"/>
                    </a:lnTo>
                    <a:lnTo>
                      <a:pt x="7352" y="68414"/>
                    </a:lnTo>
                    <a:lnTo>
                      <a:pt x="7352" y="28032"/>
                    </a:lnTo>
                    <a:lnTo>
                      <a:pt x="0" y="28032"/>
                    </a:lnTo>
                    <a:lnTo>
                      <a:pt x="0" y="18791"/>
                    </a:lnTo>
                    <a:lnTo>
                      <a:pt x="7163" y="18791"/>
                    </a:lnTo>
                    <a:lnTo>
                      <a:pt x="7163" y="15579"/>
                    </a:lnTo>
                    <a:cubicBezTo>
                      <a:pt x="7163" y="10220"/>
                      <a:pt x="8067" y="6527"/>
                      <a:pt x="9877" y="4500"/>
                    </a:cubicBezTo>
                    <a:cubicBezTo>
                      <a:pt x="11783" y="1494"/>
                      <a:pt x="16352" y="0"/>
                      <a:pt x="23618" y="0"/>
                    </a:cubicBezTo>
                    <a:cubicBezTo>
                      <a:pt x="24442" y="0"/>
                      <a:pt x="25198" y="0"/>
                      <a:pt x="25868" y="0"/>
                    </a:cubicBezTo>
                    <a:close/>
                  </a:path>
                </a:pathLst>
              </a:custGeom>
              <a:solidFill>
                <a:srgbClr val="00B0F0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661FAB9-9525-4A2E-ADDE-3D6DE582FDD9}"/>
                  </a:ext>
                </a:extLst>
              </p:cNvPr>
              <p:cNvSpPr/>
              <p:nvPr/>
            </p:nvSpPr>
            <p:spPr>
              <a:xfrm rot="16200000">
                <a:off x="12016830" y="6161182"/>
                <a:ext cx="49036" cy="51048"/>
              </a:xfrm>
              <a:custGeom>
                <a:avLst/>
                <a:gdLst>
                  <a:gd name="connsiteX0" fmla="*/ 42949 w 49036"/>
                  <a:gd name="connsiteY0" fmla="*/ 43542 h 51048"/>
                  <a:gd name="connsiteX1" fmla="*/ 24519 w 49036"/>
                  <a:gd name="connsiteY1" fmla="*/ 51049 h 51048"/>
                  <a:gd name="connsiteX2" fmla="*/ 6071 w 49036"/>
                  <a:gd name="connsiteY2" fmla="*/ 43542 h 51048"/>
                  <a:gd name="connsiteX3" fmla="*/ 8 w 49036"/>
                  <a:gd name="connsiteY3" fmla="*/ 25576 h 51048"/>
                  <a:gd name="connsiteX4" fmla="*/ 6071 w 49036"/>
                  <a:gd name="connsiteY4" fmla="*/ 7592 h 51048"/>
                  <a:gd name="connsiteX5" fmla="*/ 24519 w 49036"/>
                  <a:gd name="connsiteY5" fmla="*/ 0 h 51048"/>
                  <a:gd name="connsiteX6" fmla="*/ 42949 w 49036"/>
                  <a:gd name="connsiteY6" fmla="*/ 7592 h 51048"/>
                  <a:gd name="connsiteX7" fmla="*/ 49030 w 49036"/>
                  <a:gd name="connsiteY7" fmla="*/ 25576 h 51048"/>
                  <a:gd name="connsiteX8" fmla="*/ 42949 w 49036"/>
                  <a:gd name="connsiteY8" fmla="*/ 43542 h 51048"/>
                  <a:gd name="connsiteX9" fmla="*/ 32918 w 49036"/>
                  <a:gd name="connsiteY9" fmla="*/ 36672 h 51048"/>
                  <a:gd name="connsiteX10" fmla="*/ 35872 w 49036"/>
                  <a:gd name="connsiteY10" fmla="*/ 25576 h 51048"/>
                  <a:gd name="connsiteX11" fmla="*/ 32918 w 49036"/>
                  <a:gd name="connsiteY11" fmla="*/ 14480 h 51048"/>
                  <a:gd name="connsiteX12" fmla="*/ 17172 w 49036"/>
                  <a:gd name="connsiteY12" fmla="*/ 13307 h 51048"/>
                  <a:gd name="connsiteX13" fmla="*/ 15999 w 49036"/>
                  <a:gd name="connsiteY13" fmla="*/ 14480 h 51048"/>
                  <a:gd name="connsiteX14" fmla="*/ 13027 w 49036"/>
                  <a:gd name="connsiteY14" fmla="*/ 25576 h 51048"/>
                  <a:gd name="connsiteX15" fmla="*/ 15999 w 49036"/>
                  <a:gd name="connsiteY15" fmla="*/ 36706 h 51048"/>
                  <a:gd name="connsiteX16" fmla="*/ 31692 w 49036"/>
                  <a:gd name="connsiteY16" fmla="*/ 37932 h 51048"/>
                  <a:gd name="connsiteX17" fmla="*/ 32918 w 49036"/>
                  <a:gd name="connsiteY17" fmla="*/ 36706 h 5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9036" h="51048">
                    <a:moveTo>
                      <a:pt x="42949" y="43542"/>
                    </a:moveTo>
                    <a:cubicBezTo>
                      <a:pt x="38907" y="48535"/>
                      <a:pt x="32763" y="51037"/>
                      <a:pt x="24519" y="51049"/>
                    </a:cubicBezTo>
                    <a:cubicBezTo>
                      <a:pt x="16274" y="51060"/>
                      <a:pt x="10125" y="48558"/>
                      <a:pt x="6071" y="43542"/>
                    </a:cubicBezTo>
                    <a:cubicBezTo>
                      <a:pt x="2000" y="38452"/>
                      <a:pt x="-145" y="32091"/>
                      <a:pt x="8" y="25576"/>
                    </a:cubicBezTo>
                    <a:cubicBezTo>
                      <a:pt x="-130" y="19058"/>
                      <a:pt x="2016" y="12697"/>
                      <a:pt x="6071" y="7592"/>
                    </a:cubicBezTo>
                    <a:cubicBezTo>
                      <a:pt x="10125" y="2519"/>
                      <a:pt x="16274" y="-11"/>
                      <a:pt x="24519" y="0"/>
                    </a:cubicBezTo>
                    <a:cubicBezTo>
                      <a:pt x="32763" y="12"/>
                      <a:pt x="38907" y="2542"/>
                      <a:pt x="42949" y="7592"/>
                    </a:cubicBezTo>
                    <a:cubicBezTo>
                      <a:pt x="47010" y="12695"/>
                      <a:pt x="49160" y="19056"/>
                      <a:pt x="49030" y="25576"/>
                    </a:cubicBezTo>
                    <a:cubicBezTo>
                      <a:pt x="49177" y="32093"/>
                      <a:pt x="47023" y="38454"/>
                      <a:pt x="42949" y="43542"/>
                    </a:cubicBezTo>
                    <a:close/>
                    <a:moveTo>
                      <a:pt x="32918" y="36672"/>
                    </a:moveTo>
                    <a:cubicBezTo>
                      <a:pt x="35077" y="33390"/>
                      <a:pt x="36115" y="29497"/>
                      <a:pt x="35872" y="25576"/>
                    </a:cubicBezTo>
                    <a:cubicBezTo>
                      <a:pt x="36123" y="21654"/>
                      <a:pt x="35086" y="17758"/>
                      <a:pt x="32918" y="14480"/>
                    </a:cubicBezTo>
                    <a:cubicBezTo>
                      <a:pt x="28893" y="9808"/>
                      <a:pt x="21844" y="9283"/>
                      <a:pt x="17172" y="13307"/>
                    </a:cubicBezTo>
                    <a:cubicBezTo>
                      <a:pt x="16753" y="13668"/>
                      <a:pt x="16360" y="14060"/>
                      <a:pt x="15999" y="14480"/>
                    </a:cubicBezTo>
                    <a:cubicBezTo>
                      <a:pt x="13826" y="17756"/>
                      <a:pt x="12782" y="21652"/>
                      <a:pt x="13027" y="25576"/>
                    </a:cubicBezTo>
                    <a:cubicBezTo>
                      <a:pt x="12782" y="29510"/>
                      <a:pt x="13824" y="33418"/>
                      <a:pt x="15999" y="36706"/>
                    </a:cubicBezTo>
                    <a:cubicBezTo>
                      <a:pt x="19994" y="41378"/>
                      <a:pt x="27020" y="41927"/>
                      <a:pt x="31692" y="37932"/>
                    </a:cubicBezTo>
                    <a:cubicBezTo>
                      <a:pt x="32131" y="37556"/>
                      <a:pt x="32542" y="37146"/>
                      <a:pt x="32918" y="36706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E2E67E8-04E8-4D20-B8D4-6E67405547E0}"/>
                  </a:ext>
                </a:extLst>
              </p:cNvPr>
              <p:cNvSpPr/>
              <p:nvPr/>
            </p:nvSpPr>
            <p:spPr>
              <a:xfrm rot="16200000">
                <a:off x="12005374" y="6370523"/>
                <a:ext cx="71791" cy="51205"/>
              </a:xfrm>
              <a:custGeom>
                <a:avLst/>
                <a:gdLst>
                  <a:gd name="connsiteX0" fmla="*/ 62643 w 71791"/>
                  <a:gd name="connsiteY0" fmla="*/ 1307 h 51205"/>
                  <a:gd name="connsiteX1" fmla="*/ 68466 w 71791"/>
                  <a:gd name="connsiteY1" fmla="*/ 5808 h 51205"/>
                  <a:gd name="connsiteX2" fmla="*/ 71317 w 71791"/>
                  <a:gd name="connsiteY2" fmla="*/ 12249 h 51205"/>
                  <a:gd name="connsiteX3" fmla="*/ 71781 w 71791"/>
                  <a:gd name="connsiteY3" fmla="*/ 19635 h 51205"/>
                  <a:gd name="connsiteX4" fmla="*/ 71781 w 71791"/>
                  <a:gd name="connsiteY4" fmla="*/ 51205 h 51205"/>
                  <a:gd name="connsiteX5" fmla="*/ 58349 w 71791"/>
                  <a:gd name="connsiteY5" fmla="*/ 51205 h 51205"/>
                  <a:gd name="connsiteX6" fmla="*/ 58349 w 71791"/>
                  <a:gd name="connsiteY6" fmla="*/ 19308 h 51205"/>
                  <a:gd name="connsiteX7" fmla="*/ 57438 w 71791"/>
                  <a:gd name="connsiteY7" fmla="*/ 14636 h 51205"/>
                  <a:gd name="connsiteX8" fmla="*/ 50997 w 71791"/>
                  <a:gd name="connsiteY8" fmla="*/ 11201 h 51205"/>
                  <a:gd name="connsiteX9" fmla="*/ 43525 w 71791"/>
                  <a:gd name="connsiteY9" fmla="*/ 15701 h 51205"/>
                  <a:gd name="connsiteX10" fmla="*/ 42460 w 71791"/>
                  <a:gd name="connsiteY10" fmla="*/ 21455 h 51205"/>
                  <a:gd name="connsiteX11" fmla="*/ 42460 w 71791"/>
                  <a:gd name="connsiteY11" fmla="*/ 51205 h 51205"/>
                  <a:gd name="connsiteX12" fmla="*/ 29269 w 71791"/>
                  <a:gd name="connsiteY12" fmla="*/ 51205 h 51205"/>
                  <a:gd name="connsiteX13" fmla="*/ 29269 w 71791"/>
                  <a:gd name="connsiteY13" fmla="*/ 21387 h 51205"/>
                  <a:gd name="connsiteX14" fmla="*/ 28359 w 71791"/>
                  <a:gd name="connsiteY14" fmla="*/ 14911 h 51205"/>
                  <a:gd name="connsiteX15" fmla="*/ 21883 w 71791"/>
                  <a:gd name="connsiteY15" fmla="*/ 11270 h 51205"/>
                  <a:gd name="connsiteX16" fmla="*/ 14342 w 71791"/>
                  <a:gd name="connsiteY16" fmla="*/ 14911 h 51205"/>
                  <a:gd name="connsiteX17" fmla="*/ 13277 w 71791"/>
                  <a:gd name="connsiteY17" fmla="*/ 21060 h 51205"/>
                  <a:gd name="connsiteX18" fmla="*/ 13277 w 71791"/>
                  <a:gd name="connsiteY18" fmla="*/ 51205 h 51205"/>
                  <a:gd name="connsiteX19" fmla="*/ 0 w 71791"/>
                  <a:gd name="connsiteY19" fmla="*/ 51205 h 51205"/>
                  <a:gd name="connsiteX20" fmla="*/ 0 w 71791"/>
                  <a:gd name="connsiteY20" fmla="*/ 1221 h 51205"/>
                  <a:gd name="connsiteX21" fmla="*/ 12728 w 71791"/>
                  <a:gd name="connsiteY21" fmla="*/ 1221 h 51205"/>
                  <a:gd name="connsiteX22" fmla="*/ 12728 w 71791"/>
                  <a:gd name="connsiteY22" fmla="*/ 8556 h 51205"/>
                  <a:gd name="connsiteX23" fmla="*/ 17331 w 71791"/>
                  <a:gd name="connsiteY23" fmla="*/ 2991 h 51205"/>
                  <a:gd name="connsiteX24" fmla="*/ 36483 w 71791"/>
                  <a:gd name="connsiteY24" fmla="*/ 2578 h 51205"/>
                  <a:gd name="connsiteX25" fmla="*/ 40726 w 71791"/>
                  <a:gd name="connsiteY25" fmla="*/ 8556 h 51205"/>
                  <a:gd name="connsiteX26" fmla="*/ 47098 w 71791"/>
                  <a:gd name="connsiteY26" fmla="*/ 2063 h 51205"/>
                  <a:gd name="connsiteX27" fmla="*/ 56116 w 71791"/>
                  <a:gd name="connsiteY27" fmla="*/ 2 h 51205"/>
                  <a:gd name="connsiteX28" fmla="*/ 62643 w 71791"/>
                  <a:gd name="connsiteY28" fmla="*/ 1307 h 51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1791" h="51205">
                    <a:moveTo>
                      <a:pt x="62643" y="1307"/>
                    </a:moveTo>
                    <a:cubicBezTo>
                      <a:pt x="64938" y="2282"/>
                      <a:pt x="66944" y="3832"/>
                      <a:pt x="68466" y="5808"/>
                    </a:cubicBezTo>
                    <a:cubicBezTo>
                      <a:pt x="69936" y="7685"/>
                      <a:pt x="70917" y="9898"/>
                      <a:pt x="71317" y="12249"/>
                    </a:cubicBezTo>
                    <a:cubicBezTo>
                      <a:pt x="71680" y="14693"/>
                      <a:pt x="71834" y="17164"/>
                      <a:pt x="71781" y="19635"/>
                    </a:cubicBezTo>
                    <a:lnTo>
                      <a:pt x="71781" y="51205"/>
                    </a:lnTo>
                    <a:lnTo>
                      <a:pt x="58349" y="51205"/>
                    </a:lnTo>
                    <a:lnTo>
                      <a:pt x="58349" y="19308"/>
                    </a:lnTo>
                    <a:cubicBezTo>
                      <a:pt x="58414" y="17701"/>
                      <a:pt x="58101" y="16101"/>
                      <a:pt x="57438" y="14636"/>
                    </a:cubicBezTo>
                    <a:cubicBezTo>
                      <a:pt x="56188" y="12289"/>
                      <a:pt x="53642" y="10931"/>
                      <a:pt x="50997" y="11201"/>
                    </a:cubicBezTo>
                    <a:cubicBezTo>
                      <a:pt x="47802" y="10957"/>
                      <a:pt x="44803" y="12763"/>
                      <a:pt x="43525" y="15701"/>
                    </a:cubicBezTo>
                    <a:cubicBezTo>
                      <a:pt x="42766" y="17522"/>
                      <a:pt x="42404" y="19483"/>
                      <a:pt x="42460" y="21455"/>
                    </a:cubicBezTo>
                    <a:lnTo>
                      <a:pt x="42460" y="51205"/>
                    </a:lnTo>
                    <a:lnTo>
                      <a:pt x="29269" y="51205"/>
                    </a:lnTo>
                    <a:lnTo>
                      <a:pt x="29269" y="21387"/>
                    </a:lnTo>
                    <a:cubicBezTo>
                      <a:pt x="29389" y="19189"/>
                      <a:pt x="29080" y="16990"/>
                      <a:pt x="28359" y="14911"/>
                    </a:cubicBezTo>
                    <a:cubicBezTo>
                      <a:pt x="27192" y="12446"/>
                      <a:pt x="24595" y="10986"/>
                      <a:pt x="21883" y="11270"/>
                    </a:cubicBezTo>
                    <a:cubicBezTo>
                      <a:pt x="18138" y="11270"/>
                      <a:pt x="15626" y="12484"/>
                      <a:pt x="14342" y="14911"/>
                    </a:cubicBezTo>
                    <a:cubicBezTo>
                      <a:pt x="13527" y="16854"/>
                      <a:pt x="13162" y="18956"/>
                      <a:pt x="13277" y="21060"/>
                    </a:cubicBezTo>
                    <a:lnTo>
                      <a:pt x="13277" y="51205"/>
                    </a:lnTo>
                    <a:lnTo>
                      <a:pt x="0" y="51205"/>
                    </a:lnTo>
                    <a:lnTo>
                      <a:pt x="0" y="1221"/>
                    </a:lnTo>
                    <a:lnTo>
                      <a:pt x="12728" y="1221"/>
                    </a:lnTo>
                    <a:lnTo>
                      <a:pt x="12728" y="8556"/>
                    </a:lnTo>
                    <a:cubicBezTo>
                      <a:pt x="13930" y="6449"/>
                      <a:pt x="15488" y="4567"/>
                      <a:pt x="17331" y="2991"/>
                    </a:cubicBezTo>
                    <a:cubicBezTo>
                      <a:pt x="23120" y="-769"/>
                      <a:pt x="30538" y="-929"/>
                      <a:pt x="36483" y="2578"/>
                    </a:cubicBezTo>
                    <a:cubicBezTo>
                      <a:pt x="38381" y="4179"/>
                      <a:pt x="39841" y="6236"/>
                      <a:pt x="40726" y="8556"/>
                    </a:cubicBezTo>
                    <a:cubicBezTo>
                      <a:pt x="42206" y="5843"/>
                      <a:pt x="44413" y="3595"/>
                      <a:pt x="47098" y="2063"/>
                    </a:cubicBezTo>
                    <a:cubicBezTo>
                      <a:pt x="49896" y="665"/>
                      <a:pt x="52988" y="-42"/>
                      <a:pt x="56116" y="2"/>
                    </a:cubicBezTo>
                    <a:cubicBezTo>
                      <a:pt x="58356" y="15"/>
                      <a:pt x="60571" y="458"/>
                      <a:pt x="62643" y="1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0013948-917C-44E7-8DBE-C5E0FD0A2100}"/>
                  </a:ext>
                </a:extLst>
              </p:cNvPr>
              <p:cNvSpPr/>
              <p:nvPr/>
            </p:nvSpPr>
            <p:spPr>
              <a:xfrm rot="16200000">
                <a:off x="12026199" y="6307354"/>
                <a:ext cx="13277" cy="68070"/>
              </a:xfrm>
              <a:custGeom>
                <a:avLst/>
                <a:gdLst>
                  <a:gd name="connsiteX0" fmla="*/ 13278 w 13277"/>
                  <a:gd name="connsiteY0" fmla="*/ 12024 h 68070"/>
                  <a:gd name="connsiteX1" fmla="*/ 0 w 13277"/>
                  <a:gd name="connsiteY1" fmla="*/ 12024 h 68070"/>
                  <a:gd name="connsiteX2" fmla="*/ 0 w 13277"/>
                  <a:gd name="connsiteY2" fmla="*/ 0 h 68070"/>
                  <a:gd name="connsiteX3" fmla="*/ 13278 w 13277"/>
                  <a:gd name="connsiteY3" fmla="*/ 0 h 68070"/>
                  <a:gd name="connsiteX4" fmla="*/ 0 w 13277"/>
                  <a:gd name="connsiteY4" fmla="*/ 17984 h 68070"/>
                  <a:gd name="connsiteX5" fmla="*/ 13278 w 13277"/>
                  <a:gd name="connsiteY5" fmla="*/ 17984 h 68070"/>
                  <a:gd name="connsiteX6" fmla="*/ 13278 w 13277"/>
                  <a:gd name="connsiteY6" fmla="*/ 68070 h 68070"/>
                  <a:gd name="connsiteX7" fmla="*/ 0 w 13277"/>
                  <a:gd name="connsiteY7" fmla="*/ 68070 h 68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77" h="68070">
                    <a:moveTo>
                      <a:pt x="13278" y="12024"/>
                    </a:moveTo>
                    <a:lnTo>
                      <a:pt x="0" y="12024"/>
                    </a:lnTo>
                    <a:lnTo>
                      <a:pt x="0" y="0"/>
                    </a:lnTo>
                    <a:lnTo>
                      <a:pt x="13278" y="0"/>
                    </a:lnTo>
                    <a:close/>
                    <a:moveTo>
                      <a:pt x="0" y="17984"/>
                    </a:moveTo>
                    <a:lnTo>
                      <a:pt x="13278" y="17984"/>
                    </a:lnTo>
                    <a:lnTo>
                      <a:pt x="13278" y="68070"/>
                    </a:lnTo>
                    <a:lnTo>
                      <a:pt x="0" y="68070"/>
                    </a:ln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7DCBD3E-5674-40CB-910B-ABFD71044CD1}"/>
                  </a:ext>
                </a:extLst>
              </p:cNvPr>
              <p:cNvSpPr/>
              <p:nvPr/>
            </p:nvSpPr>
            <p:spPr>
              <a:xfrm rot="16200000">
                <a:off x="12018641" y="6273739"/>
                <a:ext cx="45208" cy="51255"/>
              </a:xfrm>
              <a:custGeom>
                <a:avLst/>
                <a:gdLst>
                  <a:gd name="connsiteX0" fmla="*/ 40296 w 45208"/>
                  <a:gd name="connsiteY0" fmla="*/ 4038 h 51255"/>
                  <a:gd name="connsiteX1" fmla="*/ 45209 w 45208"/>
                  <a:gd name="connsiteY1" fmla="*/ 17521 h 51255"/>
                  <a:gd name="connsiteX2" fmla="*/ 45209 w 45208"/>
                  <a:gd name="connsiteY2" fmla="*/ 51256 h 51255"/>
                  <a:gd name="connsiteX3" fmla="*/ 31794 w 45208"/>
                  <a:gd name="connsiteY3" fmla="*/ 51256 h 51255"/>
                  <a:gd name="connsiteX4" fmla="*/ 31794 w 45208"/>
                  <a:gd name="connsiteY4" fmla="*/ 20785 h 51255"/>
                  <a:gd name="connsiteX5" fmla="*/ 30746 w 45208"/>
                  <a:gd name="connsiteY5" fmla="*/ 14722 h 51255"/>
                  <a:gd name="connsiteX6" fmla="*/ 23446 w 45208"/>
                  <a:gd name="connsiteY6" fmla="*/ 10874 h 51255"/>
                  <a:gd name="connsiteX7" fmla="*/ 14377 w 45208"/>
                  <a:gd name="connsiteY7" fmla="*/ 16525 h 51255"/>
                  <a:gd name="connsiteX8" fmla="*/ 13089 w 45208"/>
                  <a:gd name="connsiteY8" fmla="*/ 24151 h 51255"/>
                  <a:gd name="connsiteX9" fmla="*/ 13089 w 45208"/>
                  <a:gd name="connsiteY9" fmla="*/ 51256 h 51255"/>
                  <a:gd name="connsiteX10" fmla="*/ 0 w 45208"/>
                  <a:gd name="connsiteY10" fmla="*/ 51256 h 51255"/>
                  <a:gd name="connsiteX11" fmla="*/ 0 w 45208"/>
                  <a:gd name="connsiteY11" fmla="*/ 1272 h 51255"/>
                  <a:gd name="connsiteX12" fmla="*/ 12676 w 45208"/>
                  <a:gd name="connsiteY12" fmla="*/ 1272 h 51255"/>
                  <a:gd name="connsiteX13" fmla="*/ 12676 w 45208"/>
                  <a:gd name="connsiteY13" fmla="*/ 8607 h 51255"/>
                  <a:gd name="connsiteX14" fmla="*/ 17434 w 45208"/>
                  <a:gd name="connsiteY14" fmla="*/ 3042 h 51255"/>
                  <a:gd name="connsiteX15" fmla="*/ 27637 w 45208"/>
                  <a:gd name="connsiteY15" fmla="*/ 18 h 51255"/>
                  <a:gd name="connsiteX16" fmla="*/ 40296 w 45208"/>
                  <a:gd name="connsiteY16" fmla="*/ 4038 h 5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208" h="51255">
                    <a:moveTo>
                      <a:pt x="40296" y="4038"/>
                    </a:moveTo>
                    <a:cubicBezTo>
                      <a:pt x="43560" y="6752"/>
                      <a:pt x="45209" y="11252"/>
                      <a:pt x="45209" y="17521"/>
                    </a:cubicBezTo>
                    <a:lnTo>
                      <a:pt x="45209" y="51256"/>
                    </a:lnTo>
                    <a:lnTo>
                      <a:pt x="31794" y="51256"/>
                    </a:lnTo>
                    <a:lnTo>
                      <a:pt x="31794" y="20785"/>
                    </a:lnTo>
                    <a:cubicBezTo>
                      <a:pt x="31900" y="18711"/>
                      <a:pt x="31543" y="16639"/>
                      <a:pt x="30746" y="14722"/>
                    </a:cubicBezTo>
                    <a:cubicBezTo>
                      <a:pt x="29458" y="12162"/>
                      <a:pt x="27036" y="10874"/>
                      <a:pt x="23446" y="10874"/>
                    </a:cubicBezTo>
                    <a:cubicBezTo>
                      <a:pt x="19511" y="10565"/>
                      <a:pt x="15833" y="12857"/>
                      <a:pt x="14377" y="16525"/>
                    </a:cubicBezTo>
                    <a:cubicBezTo>
                      <a:pt x="13439" y="18955"/>
                      <a:pt x="13001" y="21549"/>
                      <a:pt x="13089" y="24151"/>
                    </a:cubicBezTo>
                    <a:lnTo>
                      <a:pt x="13089" y="51256"/>
                    </a:lnTo>
                    <a:lnTo>
                      <a:pt x="0" y="51256"/>
                    </a:lnTo>
                    <a:lnTo>
                      <a:pt x="0" y="1272"/>
                    </a:lnTo>
                    <a:lnTo>
                      <a:pt x="12676" y="1272"/>
                    </a:lnTo>
                    <a:lnTo>
                      <a:pt x="12676" y="8607"/>
                    </a:lnTo>
                    <a:cubicBezTo>
                      <a:pt x="13946" y="6502"/>
                      <a:pt x="15553" y="4622"/>
                      <a:pt x="17434" y="3042"/>
                    </a:cubicBezTo>
                    <a:cubicBezTo>
                      <a:pt x="20409" y="938"/>
                      <a:pt x="23996" y="-125"/>
                      <a:pt x="27637" y="18"/>
                    </a:cubicBezTo>
                    <a:cubicBezTo>
                      <a:pt x="32199" y="-181"/>
                      <a:pt x="36684" y="1243"/>
                      <a:pt x="40296" y="4038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6AD7FAC-FE8F-4E5C-AC0E-214C9EA7FF92}"/>
                  </a:ext>
                </a:extLst>
              </p:cNvPr>
              <p:cNvSpPr/>
              <p:nvPr/>
            </p:nvSpPr>
            <p:spPr>
              <a:xfrm rot="16200000">
                <a:off x="12017163" y="6218687"/>
                <a:ext cx="48082" cy="51510"/>
              </a:xfrm>
              <a:custGeom>
                <a:avLst/>
                <a:gdLst>
                  <a:gd name="connsiteX0" fmla="*/ 35384 w 48082"/>
                  <a:gd name="connsiteY0" fmla="*/ 2281 h 51510"/>
                  <a:gd name="connsiteX1" fmla="*/ 43766 w 48082"/>
                  <a:gd name="connsiteY1" fmla="*/ 9444 h 51510"/>
                  <a:gd name="connsiteX2" fmla="*/ 47631 w 48082"/>
                  <a:gd name="connsiteY2" fmla="*/ 19475 h 51510"/>
                  <a:gd name="connsiteX3" fmla="*/ 48043 w 48082"/>
                  <a:gd name="connsiteY3" fmla="*/ 29094 h 51510"/>
                  <a:gd name="connsiteX4" fmla="*/ 12711 w 48082"/>
                  <a:gd name="connsiteY4" fmla="*/ 29094 h 51510"/>
                  <a:gd name="connsiteX5" fmla="*/ 17778 w 48082"/>
                  <a:gd name="connsiteY5" fmla="*/ 39400 h 51510"/>
                  <a:gd name="connsiteX6" fmla="*/ 24769 w 48082"/>
                  <a:gd name="connsiteY6" fmla="*/ 41237 h 51510"/>
                  <a:gd name="connsiteX7" fmla="*/ 31811 w 48082"/>
                  <a:gd name="connsiteY7" fmla="*/ 39004 h 51510"/>
                  <a:gd name="connsiteX8" fmla="*/ 34405 w 48082"/>
                  <a:gd name="connsiteY8" fmla="*/ 35672 h 51510"/>
                  <a:gd name="connsiteX9" fmla="*/ 47407 w 48082"/>
                  <a:gd name="connsiteY9" fmla="*/ 35672 h 51510"/>
                  <a:gd name="connsiteX10" fmla="*/ 42701 w 48082"/>
                  <a:gd name="connsiteY10" fmla="*/ 44432 h 51510"/>
                  <a:gd name="connsiteX11" fmla="*/ 24459 w 48082"/>
                  <a:gd name="connsiteY11" fmla="*/ 51509 h 51510"/>
                  <a:gd name="connsiteX12" fmla="*/ 7386 w 48082"/>
                  <a:gd name="connsiteY12" fmla="*/ 45549 h 51510"/>
                  <a:gd name="connsiteX13" fmla="*/ 0 w 48082"/>
                  <a:gd name="connsiteY13" fmla="*/ 26139 h 51510"/>
                  <a:gd name="connsiteX14" fmla="*/ 6682 w 48082"/>
                  <a:gd name="connsiteY14" fmla="*/ 6816 h 51510"/>
                  <a:gd name="connsiteX15" fmla="*/ 23961 w 48082"/>
                  <a:gd name="connsiteY15" fmla="*/ 14 h 51510"/>
                  <a:gd name="connsiteX16" fmla="*/ 35384 w 48082"/>
                  <a:gd name="connsiteY16" fmla="*/ 2281 h 51510"/>
                  <a:gd name="connsiteX17" fmla="*/ 16490 w 48082"/>
                  <a:gd name="connsiteY17" fmla="*/ 13223 h 51510"/>
                  <a:gd name="connsiteX18" fmla="*/ 13054 w 48082"/>
                  <a:gd name="connsiteY18" fmla="*/ 20797 h 51510"/>
                  <a:gd name="connsiteX19" fmla="*/ 34886 w 48082"/>
                  <a:gd name="connsiteY19" fmla="*/ 20797 h 51510"/>
                  <a:gd name="connsiteX20" fmla="*/ 31450 w 48082"/>
                  <a:gd name="connsiteY20" fmla="*/ 13137 h 51510"/>
                  <a:gd name="connsiteX21" fmla="*/ 23961 w 48082"/>
                  <a:gd name="connsiteY21" fmla="*/ 10491 h 51510"/>
                  <a:gd name="connsiteX22" fmla="*/ 16490 w 48082"/>
                  <a:gd name="connsiteY22" fmla="*/ 13223 h 51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8082" h="51510">
                    <a:moveTo>
                      <a:pt x="35384" y="2281"/>
                    </a:moveTo>
                    <a:cubicBezTo>
                      <a:pt x="38804" y="3821"/>
                      <a:pt x="41712" y="6306"/>
                      <a:pt x="43766" y="9444"/>
                    </a:cubicBezTo>
                    <a:cubicBezTo>
                      <a:pt x="45803" y="12448"/>
                      <a:pt x="47126" y="15880"/>
                      <a:pt x="47631" y="19475"/>
                    </a:cubicBezTo>
                    <a:cubicBezTo>
                      <a:pt x="48021" y="22665"/>
                      <a:pt x="48160" y="25881"/>
                      <a:pt x="48043" y="29094"/>
                    </a:cubicBezTo>
                    <a:lnTo>
                      <a:pt x="12711" y="29094"/>
                    </a:lnTo>
                    <a:cubicBezTo>
                      <a:pt x="12900" y="33955"/>
                      <a:pt x="14600" y="37373"/>
                      <a:pt x="17778" y="39400"/>
                    </a:cubicBezTo>
                    <a:cubicBezTo>
                      <a:pt x="19884" y="40669"/>
                      <a:pt x="22311" y="41306"/>
                      <a:pt x="24769" y="41237"/>
                    </a:cubicBezTo>
                    <a:cubicBezTo>
                      <a:pt x="27307" y="41354"/>
                      <a:pt x="29803" y="40563"/>
                      <a:pt x="31811" y="39004"/>
                    </a:cubicBezTo>
                    <a:cubicBezTo>
                      <a:pt x="32891" y="38080"/>
                      <a:pt x="33774" y="36947"/>
                      <a:pt x="34405" y="35672"/>
                    </a:cubicBezTo>
                    <a:lnTo>
                      <a:pt x="47407" y="35672"/>
                    </a:lnTo>
                    <a:cubicBezTo>
                      <a:pt x="46818" y="39021"/>
                      <a:pt x="45169" y="42092"/>
                      <a:pt x="42701" y="44432"/>
                    </a:cubicBezTo>
                    <a:cubicBezTo>
                      <a:pt x="38355" y="49156"/>
                      <a:pt x="32292" y="51509"/>
                      <a:pt x="24459" y="51509"/>
                    </a:cubicBezTo>
                    <a:cubicBezTo>
                      <a:pt x="18245" y="51584"/>
                      <a:pt x="12202" y="49474"/>
                      <a:pt x="7386" y="45549"/>
                    </a:cubicBezTo>
                    <a:cubicBezTo>
                      <a:pt x="2461" y="41564"/>
                      <a:pt x="0" y="35094"/>
                      <a:pt x="0" y="26139"/>
                    </a:cubicBezTo>
                    <a:cubicBezTo>
                      <a:pt x="0" y="17746"/>
                      <a:pt x="2228" y="11304"/>
                      <a:pt x="6682" y="6816"/>
                    </a:cubicBezTo>
                    <a:cubicBezTo>
                      <a:pt x="11252" y="2254"/>
                      <a:pt x="17508" y="-208"/>
                      <a:pt x="23961" y="14"/>
                    </a:cubicBezTo>
                    <a:cubicBezTo>
                      <a:pt x="27886" y="-52"/>
                      <a:pt x="31782" y="721"/>
                      <a:pt x="35384" y="2281"/>
                    </a:cubicBezTo>
                    <a:close/>
                    <a:moveTo>
                      <a:pt x="16490" y="13223"/>
                    </a:moveTo>
                    <a:cubicBezTo>
                      <a:pt x="14554" y="15309"/>
                      <a:pt x="13350" y="17967"/>
                      <a:pt x="13054" y="20797"/>
                    </a:cubicBezTo>
                    <a:lnTo>
                      <a:pt x="34886" y="20797"/>
                    </a:lnTo>
                    <a:cubicBezTo>
                      <a:pt x="34844" y="17880"/>
                      <a:pt x="33601" y="15108"/>
                      <a:pt x="31450" y="13137"/>
                    </a:cubicBezTo>
                    <a:cubicBezTo>
                      <a:pt x="29363" y="11367"/>
                      <a:pt x="26698" y="10426"/>
                      <a:pt x="23961" y="10491"/>
                    </a:cubicBezTo>
                    <a:cubicBezTo>
                      <a:pt x="21201" y="10337"/>
                      <a:pt x="18499" y="11325"/>
                      <a:pt x="16490" y="13223"/>
                    </a:cubicBezTo>
                    <a:close/>
                  </a:path>
                </a:pathLst>
              </a:custGeom>
              <a:solidFill>
                <a:schemeClr val="bg1"/>
              </a:solidFill>
              <a:ln w="17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543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EDD5925-EA7C-4C82-A33E-C3CE8EA3BC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6200000">
              <a:off x="11811888" y="6322371"/>
              <a:ext cx="441438" cy="68706"/>
            </a:xfrm>
            <a:prstGeom prst="rect">
              <a:avLst/>
            </a:prstGeom>
          </p:spPr>
        </p:pic>
        <p:sp>
          <p:nvSpPr>
            <p:cNvPr id="84" name="Copyright">
              <a:extLst>
                <a:ext uri="{FF2B5EF4-FFF2-40B4-BE49-F238E27FC236}">
                  <a16:creationId xmlns:a16="http://schemas.microsoft.com/office/drawing/2014/main" id="{99040E17-1592-44EC-BAF2-3AB7B9CEFCC4}"/>
                </a:ext>
              </a:extLst>
            </p:cNvPr>
            <p:cNvSpPr txBox="1"/>
            <p:nvPr userDrawn="1"/>
          </p:nvSpPr>
          <p:spPr>
            <a:xfrm rot="16200000">
              <a:off x="11245202" y="5263958"/>
              <a:ext cx="1579278" cy="11080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kumimoji="0" sz="1000" b="0" i="0" u="none" strike="noStrike" cap="none" spc="0" normalizeH="0" baseline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 lvl="0" algn="l"/>
              <a:r>
                <a:rPr lang="en-US" sz="882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Copyright © 2023. All rights reserved.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1291B6-2446-4C04-92FE-DFB37F15A485}"/>
              </a:ext>
            </a:extLst>
          </p:cNvPr>
          <p:cNvCxnSpPr>
            <a:cxnSpLocks/>
          </p:cNvCxnSpPr>
          <p:nvPr userDrawn="1"/>
        </p:nvCxnSpPr>
        <p:spPr>
          <a:xfrm>
            <a:off x="594604" y="534523"/>
            <a:ext cx="595266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444A0EAF-F5FD-4505-B25A-92C17DDE6630}"/>
              </a:ext>
            </a:extLst>
          </p:cNvPr>
          <p:cNvSpPr txBox="1">
            <a:spLocks/>
          </p:cNvSpPr>
          <p:nvPr userDrawn="1"/>
        </p:nvSpPr>
        <p:spPr>
          <a:xfrm>
            <a:off x="12665490" y="7127141"/>
            <a:ext cx="166712" cy="15267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kumimoji="0" lang="en-IN" sz="1000" b="0" i="0" u="none" strike="noStrike" kern="1200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2547BBBC-05CB-49BC-A9CC-2D869F0C1D2C}" type="slidenum">
              <a:rPr lang="en-IN" sz="1102" smtClean="0"/>
              <a:pPr>
                <a:lnSpc>
                  <a:spcPct val="90000"/>
                </a:lnSpc>
              </a:pPr>
              <a:t>‹#›</a:t>
            </a:fld>
            <a:endParaRPr lang="en-IN" sz="1102" dirty="0"/>
          </a:p>
        </p:txBody>
      </p:sp>
    </p:spTree>
    <p:extLst>
      <p:ext uri="{BB962C8B-B14F-4D97-AF65-F5344CB8AC3E}">
        <p14:creationId xmlns:p14="http://schemas.microsoft.com/office/powerpoint/2010/main" val="305079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707" r:id="rId2"/>
    <p:sldLayoutId id="2147483683" r:id="rId3"/>
    <p:sldLayoutId id="2147483684" r:id="rId4"/>
    <p:sldLayoutId id="2147483685" r:id="rId5"/>
    <p:sldLayoutId id="2147483711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lang="en-IN" sz="3527" b="0" kern="1200" dirty="0">
          <a:solidFill>
            <a:schemeClr val="tx2"/>
          </a:solidFill>
          <a:latin typeface="Franklin Gothic Demi" panose="020B070302010202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1007943" rtl="0" eaLnBrk="1" latinLnBrk="0" hangingPunct="1">
        <a:lnSpc>
          <a:spcPct val="95000"/>
        </a:lnSpc>
        <a:spcBef>
          <a:spcPts val="1102"/>
        </a:spcBef>
        <a:buFont typeface="Arial" panose="020B0604020202020204" pitchFamily="34" charset="0"/>
        <a:buNone/>
        <a:defRPr sz="1764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94240" indent="-194240" algn="l" defTabSz="1007943" rtl="0" eaLnBrk="1" latinLnBrk="0" hangingPunct="1">
        <a:lnSpc>
          <a:spcPct val="95000"/>
        </a:lnSpc>
        <a:spcBef>
          <a:spcPts val="551"/>
        </a:spcBef>
        <a:buClr>
          <a:schemeClr val="tx2"/>
        </a:buClr>
        <a:buSzPct val="90000"/>
        <a:buFont typeface="Wingdings" panose="05000000000000000000" pitchFamily="2" charset="2"/>
        <a:buChar char=""/>
        <a:defRPr sz="1764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95478" indent="-197739" algn="l" defTabSz="1007943" rtl="0" eaLnBrk="1" latinLnBrk="0" hangingPunct="1">
        <a:lnSpc>
          <a:spcPct val="95000"/>
        </a:lnSpc>
        <a:spcBef>
          <a:spcPts val="331"/>
        </a:spcBef>
        <a:buClr>
          <a:schemeClr val="tx2"/>
        </a:buClr>
        <a:buFont typeface="Calibri Light" panose="020F0302020204030204" pitchFamily="34" charset="0"/>
        <a:buChar char="−"/>
        <a:tabLst/>
        <a:defRPr sz="1764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91467" indent="-195989" algn="l" defTabSz="1007943" rtl="0" eaLnBrk="1" latinLnBrk="0" hangingPunct="1">
        <a:lnSpc>
          <a:spcPct val="95000"/>
        </a:lnSpc>
        <a:spcBef>
          <a:spcPts val="110"/>
        </a:spcBef>
        <a:buClr>
          <a:schemeClr val="tx2"/>
        </a:buClr>
        <a:buSzPct val="90000"/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89206" indent="-197739" algn="l" defTabSz="1007943" rtl="0" eaLnBrk="1" latinLnBrk="0" hangingPunct="1">
        <a:lnSpc>
          <a:spcPct val="95000"/>
        </a:lnSpc>
        <a:spcBef>
          <a:spcPts val="110"/>
        </a:spcBef>
        <a:buClr>
          <a:schemeClr val="tx2"/>
        </a:buClr>
        <a:buFont typeface="Calibri Light" panose="020F0302020204030204" pitchFamily="34" charset="0"/>
        <a:buChar char="−"/>
        <a:defRPr sz="1764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8111" userDrawn="1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4399" userDrawn="1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ABC757-ED20-4346-903C-7ACB6BDFF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65796546"/>
              </p:ext>
            </p:extLst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73" imgH="476" progId="TCLayout.ActiveDocument.1">
                  <p:embed/>
                </p:oleObj>
              </mc:Choice>
              <mc:Fallback>
                <p:oleObj name="think-cell Slide" r:id="rId30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ABC757-ED20-4346-903C-7ACB6BDFF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3226426" y="6792672"/>
            <a:ext cx="75511" cy="487140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984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 rot="-5400000">
            <a:off x="13020766" y="6998641"/>
            <a:ext cx="486604" cy="75738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94604" y="617945"/>
            <a:ext cx="12224961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607240" y="2050210"/>
            <a:ext cx="12224962" cy="362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607240" y="7110214"/>
            <a:ext cx="6112648" cy="169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10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2402461" y="5831936"/>
            <a:ext cx="1728140" cy="12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82" b="0" i="0" u="none" strike="noStrike" cap="none" dirty="0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3. All rights reserved.</a:t>
            </a:r>
            <a:endParaRPr sz="1543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94604" y="534523"/>
            <a:ext cx="595266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2666099" y="7127141"/>
            <a:ext cx="166103" cy="152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102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102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931157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6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9.xml"/><Relationship Id="rId6" Type="http://schemas.openxmlformats.org/officeDocument/2006/relationships/image" Target="../media/image65.png"/><Relationship Id="rId5" Type="http://schemas.openxmlformats.org/officeDocument/2006/relationships/image" Target="../media/image69.png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0.xml"/><Relationship Id="rId6" Type="http://schemas.openxmlformats.org/officeDocument/2006/relationships/image" Target="../media/image67.png"/><Relationship Id="rId5" Type="http://schemas.openxmlformats.org/officeDocument/2006/relationships/image" Target="../media/image70.png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49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81.xml"/><Relationship Id="rId6" Type="http://schemas.microsoft.com/office/2007/relationships/hdphoto" Target="../media/hdphoto2.wdp"/><Relationship Id="rId5" Type="http://schemas.openxmlformats.org/officeDocument/2006/relationships/image" Target="../media/image41.png"/><Relationship Id="rId4" Type="http://schemas.openxmlformats.org/officeDocument/2006/relationships/image" Target="../media/image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73.svg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8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3.xml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71.xml"/><Relationship Id="rId6" Type="http://schemas.openxmlformats.org/officeDocument/2006/relationships/image" Target="../media/image2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notesSlide" Target="../notesSlides/notesSlide3.xml"/><Relationship Id="rId21" Type="http://schemas.microsoft.com/office/2007/relationships/hdphoto" Target="../media/hdphoto2.wdp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tags" Target="../tags/tag72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8.emf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41.bin"/><Relationship Id="rId7" Type="http://schemas.openxmlformats.org/officeDocument/2006/relationships/image" Target="../media/image44.png"/><Relationship Id="rId12" Type="http://schemas.openxmlformats.org/officeDocument/2006/relationships/image" Target="../media/image47.sv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73.xml"/><Relationship Id="rId6" Type="http://schemas.openxmlformats.org/officeDocument/2006/relationships/image" Target="../media/image43.svg"/><Relationship Id="rId11" Type="http://schemas.openxmlformats.org/officeDocument/2006/relationships/image" Target="../media/image46.png"/><Relationship Id="rId5" Type="http://schemas.openxmlformats.org/officeDocument/2006/relationships/image" Target="../media/image42.png"/><Relationship Id="rId10" Type="http://schemas.openxmlformats.org/officeDocument/2006/relationships/image" Target="../media/image32.svg"/><Relationship Id="rId4" Type="http://schemas.openxmlformats.org/officeDocument/2006/relationships/image" Target="../media/image8.emf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42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74.xml"/><Relationship Id="rId6" Type="http://schemas.microsoft.com/office/2007/relationships/hdphoto" Target="../media/hdphoto2.wdp"/><Relationship Id="rId5" Type="http://schemas.openxmlformats.org/officeDocument/2006/relationships/image" Target="../media/image41.png"/><Relationship Id="rId10" Type="http://schemas.openxmlformats.org/officeDocument/2006/relationships/image" Target="../media/image49.svg"/><Relationship Id="rId4" Type="http://schemas.openxmlformats.org/officeDocument/2006/relationships/image" Target="../media/image8.emf"/><Relationship Id="rId9" Type="http://schemas.openxmlformats.org/officeDocument/2006/relationships/image" Target="../media/image4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34.svg"/><Relationship Id="rId3" Type="http://schemas.openxmlformats.org/officeDocument/2006/relationships/oleObject" Target="../embeddings/oleObject43.bin"/><Relationship Id="rId7" Type="http://schemas.microsoft.com/office/2007/relationships/hdphoto" Target="../media/hdphoto3.wdp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75.xml"/><Relationship Id="rId6" Type="http://schemas.openxmlformats.org/officeDocument/2006/relationships/image" Target="../media/image51.png"/><Relationship Id="rId11" Type="http://schemas.microsoft.com/office/2007/relationships/hdphoto" Target="../media/hdphoto4.wdp"/><Relationship Id="rId5" Type="http://schemas.openxmlformats.org/officeDocument/2006/relationships/image" Target="../media/image50.emf"/><Relationship Id="rId10" Type="http://schemas.openxmlformats.org/officeDocument/2006/relationships/image" Target="../media/image54.png"/><Relationship Id="rId4" Type="http://schemas.openxmlformats.org/officeDocument/2006/relationships/image" Target="../media/image8.emf"/><Relationship Id="rId9" Type="http://schemas.openxmlformats.org/officeDocument/2006/relationships/image" Target="../media/image5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58.svg"/><Relationship Id="rId3" Type="http://schemas.openxmlformats.org/officeDocument/2006/relationships/notesSlide" Target="../notesSlides/notesSlide4.xml"/><Relationship Id="rId7" Type="http://schemas.microsoft.com/office/2007/relationships/hdphoto" Target="../media/hdphoto2.wdp"/><Relationship Id="rId12" Type="http://schemas.openxmlformats.org/officeDocument/2006/relationships/image" Target="../media/image5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6.xml"/><Relationship Id="rId6" Type="http://schemas.openxmlformats.org/officeDocument/2006/relationships/image" Target="../media/image41.png"/><Relationship Id="rId11" Type="http://schemas.openxmlformats.org/officeDocument/2006/relationships/image" Target="../media/image56.svg"/><Relationship Id="rId5" Type="http://schemas.openxmlformats.org/officeDocument/2006/relationships/image" Target="../media/image8.emf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oleObject" Target="../embeddings/oleObject45.bin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7.xml"/><Relationship Id="rId6" Type="http://schemas.openxmlformats.org/officeDocument/2006/relationships/image" Target="../media/image60.svg"/><Relationship Id="rId11" Type="http://schemas.openxmlformats.org/officeDocument/2006/relationships/image" Target="../media/image64.svg"/><Relationship Id="rId5" Type="http://schemas.openxmlformats.org/officeDocument/2006/relationships/image" Target="../media/image59.png"/><Relationship Id="rId10" Type="http://schemas.openxmlformats.org/officeDocument/2006/relationships/image" Target="../media/image46.png"/><Relationship Id="rId4" Type="http://schemas.openxmlformats.org/officeDocument/2006/relationships/image" Target="../media/image8.emf"/><Relationship Id="rId9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52.png"/><Relationship Id="rId18" Type="http://schemas.openxmlformats.org/officeDocument/2006/relationships/image" Target="../media/image68.svg"/><Relationship Id="rId3" Type="http://schemas.openxmlformats.org/officeDocument/2006/relationships/oleObject" Target="../embeddings/oleObject46.bin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17" Type="http://schemas.openxmlformats.org/officeDocument/2006/relationships/image" Target="../media/image67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66.svg"/><Relationship Id="rId1" Type="http://schemas.openxmlformats.org/officeDocument/2006/relationships/tags" Target="../tags/tag78.xml"/><Relationship Id="rId6" Type="http://schemas.microsoft.com/office/2007/relationships/hdphoto" Target="../media/hdphoto2.wdp"/><Relationship Id="rId11" Type="http://schemas.openxmlformats.org/officeDocument/2006/relationships/image" Target="../media/image31.png"/><Relationship Id="rId5" Type="http://schemas.openxmlformats.org/officeDocument/2006/relationships/image" Target="../media/image41.png"/><Relationship Id="rId15" Type="http://schemas.openxmlformats.org/officeDocument/2006/relationships/image" Target="../media/image65.png"/><Relationship Id="rId10" Type="http://schemas.openxmlformats.org/officeDocument/2006/relationships/image" Target="../media/image34.svg"/><Relationship Id="rId4" Type="http://schemas.openxmlformats.org/officeDocument/2006/relationships/image" Target="../media/image8.emf"/><Relationship Id="rId9" Type="http://schemas.openxmlformats.org/officeDocument/2006/relationships/image" Target="../media/image33.png"/><Relationship Id="rId14" Type="http://schemas.openxmlformats.org/officeDocument/2006/relationships/image" Target="../media/image5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CDAC22-D048-F14C-CAF1-060AB8631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9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4" name="Google Shape;524;p1"/>
          <p:cNvSpPr txBox="1">
            <a:spLocks noGrp="1"/>
          </p:cNvSpPr>
          <p:nvPr>
            <p:ph type="ctrTitle"/>
          </p:nvPr>
        </p:nvSpPr>
        <p:spPr>
          <a:xfrm>
            <a:off x="995302" y="2912726"/>
            <a:ext cx="6038903" cy="2290242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wrap="square" lIns="0" tIns="0" rIns="0" bIns="0" anchor="ctr" anchorCtr="0">
            <a:spAutoFit/>
          </a:bodyPr>
          <a:lstStyle/>
          <a:p>
            <a:r>
              <a:rPr lang="en-IN" dirty="0"/>
              <a:t>Data Analytics Uses Cases Examples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A0CC34-3F50-5FA7-32FD-FC44D1049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157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86787A8-F0D7-BD87-36F1-79956EF41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366447"/>
          </a:xfrm>
        </p:spPr>
        <p:txBody>
          <a:bodyPr vert="horz"/>
          <a:lstStyle/>
          <a:p>
            <a:pPr>
              <a:spcBef>
                <a:spcPts val="0"/>
              </a:spcBef>
              <a:buClr>
                <a:schemeClr val="dk2"/>
              </a:buClr>
              <a:buSzPts val="3200"/>
            </a:pPr>
            <a:r>
              <a:rPr lang="en-US" sz="2646" dirty="0">
                <a:sym typeface="Franklin Gothic"/>
              </a:rPr>
              <a:t>Assessing Candidates’ Experience through Sentiment Analysis</a:t>
            </a:r>
          </a:p>
        </p:txBody>
      </p:sp>
      <p:sp>
        <p:nvSpPr>
          <p:cNvPr id="19" name="Google Shape;831;p25">
            <a:extLst>
              <a:ext uri="{FF2B5EF4-FFF2-40B4-BE49-F238E27FC236}">
                <a16:creationId xmlns:a16="http://schemas.microsoft.com/office/drawing/2014/main" id="{221F5302-1B84-74EE-8BAF-DD460B2C665A}"/>
              </a:ext>
            </a:extLst>
          </p:cNvPr>
          <p:cNvSpPr>
            <a:spLocks/>
          </p:cNvSpPr>
          <p:nvPr/>
        </p:nvSpPr>
        <p:spPr>
          <a:xfrm>
            <a:off x="550862" y="2192527"/>
            <a:ext cx="5760720" cy="5303520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libri"/>
              <a:buNone/>
            </a:pPr>
            <a:endParaRPr lang="en-US" dirty="0"/>
          </a:p>
        </p:txBody>
      </p:sp>
      <p:sp>
        <p:nvSpPr>
          <p:cNvPr id="36" name="Google Shape;658;p33">
            <a:extLst>
              <a:ext uri="{FF2B5EF4-FFF2-40B4-BE49-F238E27FC236}">
                <a16:creationId xmlns:a16="http://schemas.microsoft.com/office/drawing/2014/main" id="{0588B74F-06C0-31F7-353E-AD4DF18A5BCF}"/>
              </a:ext>
            </a:extLst>
          </p:cNvPr>
          <p:cNvSpPr txBox="1">
            <a:spLocks/>
          </p:cNvSpPr>
          <p:nvPr/>
        </p:nvSpPr>
        <p:spPr>
          <a:xfrm>
            <a:off x="824991" y="2766093"/>
            <a:ext cx="5242301" cy="2162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9659" rIns="238079" bIns="39659" anchor="t" anchorCtr="0">
            <a:noAutofit/>
          </a:bodyPr>
          <a:lstStyle/>
          <a:p>
            <a:pPr>
              <a:buClr>
                <a:schemeClr val="tx2"/>
              </a:buClr>
            </a:pPr>
            <a:r>
              <a:rPr lang="en-US" sz="18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Leveraging pre-trained </a:t>
            </a:r>
            <a:r>
              <a:rPr lang="en-US" sz="1800" b="1" dirty="0" err="1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RoBERTa</a:t>
            </a:r>
            <a:r>
              <a:rPr lang="en-US" sz="18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 Model</a:t>
            </a:r>
          </a:p>
          <a:p>
            <a:pPr marL="173736" indent="-173736"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  <a:sym typeface="Calibri"/>
              </a:rPr>
              <a:t>Optimizing input for the model by cleaning and pre-</a:t>
            </a:r>
            <a:r>
              <a:rPr lang="en-US" sz="16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processing feedback data.</a:t>
            </a:r>
          </a:p>
          <a:p>
            <a:pPr marL="173736" indent="-173736"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latin typeface="+mn-lt"/>
              </a:rPr>
              <a:t>Fine-tuning the "sentiment-Roberta-large" model using labeled data to enhance its ability to handle nuances and provide more accurate sentiment analysis results aligned with client-specific requirements.</a:t>
            </a:r>
          </a:p>
        </p:txBody>
      </p:sp>
      <p:sp>
        <p:nvSpPr>
          <p:cNvPr id="37" name="Google Shape;659;p33">
            <a:extLst>
              <a:ext uri="{FF2B5EF4-FFF2-40B4-BE49-F238E27FC236}">
                <a16:creationId xmlns:a16="http://schemas.microsoft.com/office/drawing/2014/main" id="{D48478E5-B387-2ED6-74F0-DEDBD09D902A}"/>
              </a:ext>
            </a:extLst>
          </p:cNvPr>
          <p:cNvSpPr txBox="1">
            <a:spLocks/>
          </p:cNvSpPr>
          <p:nvPr/>
        </p:nvSpPr>
        <p:spPr>
          <a:xfrm>
            <a:off x="824991" y="5088156"/>
            <a:ext cx="5242302" cy="1728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9659" rIns="238079" bIns="39659" anchor="t" anchorCtr="0">
            <a:noAutofit/>
          </a:bodyPr>
          <a:lstStyle/>
          <a:p>
            <a:pPr>
              <a:buClr>
                <a:schemeClr val="tx2"/>
              </a:buClr>
            </a:pPr>
            <a:r>
              <a:rPr lang="en-IN" sz="1800" b="1" dirty="0">
                <a:solidFill>
                  <a:schemeClr val="accent1"/>
                </a:solidFill>
                <a:latin typeface="+mn-lt"/>
                <a:ea typeface="Calibri"/>
                <a:cs typeface="Calibri"/>
                <a:sym typeface="Calibri"/>
              </a:rPr>
              <a:t>End-to-End Solution Deployment</a:t>
            </a:r>
          </a:p>
          <a:p>
            <a:pPr marL="173736" indent="-173736"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Deploying an end-to-end solution by integrating the fine-tuned model into the client's ETL pipeline.</a:t>
            </a:r>
          </a:p>
          <a:p>
            <a:pPr marL="173736" indent="-173736"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N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Dashboarding in Power BI for dynamic visualization of key insights, trends, and actionable feedback categories</a:t>
            </a:r>
            <a:endParaRPr sz="18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BF7756-8AF2-91DE-7DAF-1AD0C51EED42}"/>
              </a:ext>
            </a:extLst>
          </p:cNvPr>
          <p:cNvGrpSpPr/>
          <p:nvPr/>
        </p:nvGrpSpPr>
        <p:grpSpPr>
          <a:xfrm>
            <a:off x="6947062" y="2290710"/>
            <a:ext cx="6035040" cy="4754880"/>
            <a:chOff x="4662343" y="2693866"/>
            <a:chExt cx="4610513" cy="35346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91D5C2E-7726-C2DB-E9E0-3CE4EAE20D35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D217B7C-AF9C-213F-3647-01EB4DF664AD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C88B74C4-6FD7-997F-DE5D-910E27B1F99C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55BB240-14C8-BBFC-7626-57AAEBCD8A67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70DB2AD-7129-CD10-F3EC-B174EBF84018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AF127D-3A70-50F0-E167-C4C301888865}"/>
              </a:ext>
            </a:extLst>
          </p:cNvPr>
          <p:cNvCxnSpPr>
            <a:cxnSpLocks/>
          </p:cNvCxnSpPr>
          <p:nvPr/>
        </p:nvCxnSpPr>
        <p:spPr>
          <a:xfrm>
            <a:off x="742864" y="4972021"/>
            <a:ext cx="5242301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4191317-055B-F2F6-1D4B-1036712B0C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12268" y="2540221"/>
            <a:ext cx="5461891" cy="323346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906CD14-B1B5-8CFD-4794-95B0CEEE8CC2}"/>
              </a:ext>
            </a:extLst>
          </p:cNvPr>
          <p:cNvGrpSpPr>
            <a:grpSpLocks/>
          </p:cNvGrpSpPr>
          <p:nvPr/>
        </p:nvGrpSpPr>
        <p:grpSpPr>
          <a:xfrm>
            <a:off x="6532483" y="2107329"/>
            <a:ext cx="775165" cy="775165"/>
            <a:chOff x="4949498" y="3541552"/>
            <a:chExt cx="503992" cy="503992"/>
          </a:xfrm>
        </p:grpSpPr>
        <p:sp>
          <p:nvSpPr>
            <p:cNvPr id="11" name="Google Shape;554;p30">
              <a:extLst>
                <a:ext uri="{FF2B5EF4-FFF2-40B4-BE49-F238E27FC236}">
                  <a16:creationId xmlns:a16="http://schemas.microsoft.com/office/drawing/2014/main" id="{102EE214-83C3-2D20-1D31-67D4A23CAB59}"/>
                </a:ext>
              </a:extLst>
            </p:cNvPr>
            <p:cNvSpPr/>
            <p:nvPr/>
          </p:nvSpPr>
          <p:spPr>
            <a:xfrm>
              <a:off x="4949498" y="3541552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algn="ctr"/>
              <a:endParaRPr sz="160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0ED85A9-7009-388F-1291-FA477DDA92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47634" y="3668314"/>
              <a:ext cx="307720" cy="250469"/>
            </a:xfrm>
            <a:prstGeom prst="rect">
              <a:avLst/>
            </a:prstGeom>
          </p:spPr>
        </p:pic>
      </p:grpSp>
      <p:sp>
        <p:nvSpPr>
          <p:cNvPr id="18" name="Google Shape;545;p30">
            <a:extLst>
              <a:ext uri="{FF2B5EF4-FFF2-40B4-BE49-F238E27FC236}">
                <a16:creationId xmlns:a16="http://schemas.microsoft.com/office/drawing/2014/main" id="{6318D880-D1E4-94E2-86AF-69752DA81F6D}"/>
              </a:ext>
            </a:extLst>
          </p:cNvPr>
          <p:cNvSpPr>
            <a:spLocks/>
          </p:cNvSpPr>
          <p:nvPr/>
        </p:nvSpPr>
        <p:spPr>
          <a:xfrm>
            <a:off x="559405" y="1953991"/>
            <a:ext cx="5760721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84" b="1" kern="1200" dirty="0">
                <a:solidFill>
                  <a:srgbClr val="FFFFFF"/>
                </a:solidFill>
                <a:ea typeface="+mn-ea"/>
                <a:cs typeface="Calibri" panose="020F0502020204030204" pitchFamily="34" charset="0"/>
              </a:rPr>
              <a:t>Uncovering Candidates Feedback Sentiment</a:t>
            </a:r>
            <a:endParaRPr kumimoji="0" lang="en-US" sz="198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578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B3186A-32A5-FEF2-F4D8-AFA6BA781E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70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BB57624-D49F-E49D-4297-4C11CE6FA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367024"/>
          </a:xfrm>
        </p:spPr>
        <p:txBody>
          <a:bodyPr vert="horz"/>
          <a:lstStyle/>
          <a:p>
            <a:r>
              <a:rPr lang="en-US" sz="2650" dirty="0"/>
              <a:t>Assessing Candidates’ Experience through Sentiment Analysi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B7EA6C-C789-A28C-6375-1058BC2867E2}"/>
              </a:ext>
            </a:extLst>
          </p:cNvPr>
          <p:cNvGrpSpPr/>
          <p:nvPr/>
        </p:nvGrpSpPr>
        <p:grpSpPr>
          <a:xfrm>
            <a:off x="6863940" y="2291286"/>
            <a:ext cx="6035040" cy="4753332"/>
            <a:chOff x="4662343" y="2693866"/>
            <a:chExt cx="4610513" cy="353468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B2045F1-6CB2-7837-E7E3-FFCCDBF967F1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" name="Graphic 2">
              <a:extLst>
                <a:ext uri="{FF2B5EF4-FFF2-40B4-BE49-F238E27FC236}">
                  <a16:creationId xmlns:a16="http://schemas.microsoft.com/office/drawing/2014/main" id="{B08441C0-D77C-30BD-694D-7571BE0F5EC6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D10DD8E-F458-135A-1329-7E18960F5F42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35C4EDF-EF65-437E-EF77-B235500DD1E6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0B032E8-2BB2-670B-9075-3398F651FC68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" name="Google Shape;831;p25">
            <a:extLst>
              <a:ext uri="{FF2B5EF4-FFF2-40B4-BE49-F238E27FC236}">
                <a16:creationId xmlns:a16="http://schemas.microsoft.com/office/drawing/2014/main" id="{317182DF-56A9-7A34-4665-41560407E8B4}"/>
              </a:ext>
            </a:extLst>
          </p:cNvPr>
          <p:cNvSpPr>
            <a:spLocks/>
          </p:cNvSpPr>
          <p:nvPr/>
        </p:nvSpPr>
        <p:spPr>
          <a:xfrm>
            <a:off x="550863" y="2192525"/>
            <a:ext cx="5760720" cy="5303520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rtl="0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libri"/>
              <a:buNone/>
            </a:pPr>
            <a:endParaRPr lang="en-US" dirty="0"/>
          </a:p>
        </p:txBody>
      </p:sp>
      <p:sp>
        <p:nvSpPr>
          <p:cNvPr id="21" name="Google Shape;657;p33">
            <a:extLst>
              <a:ext uri="{FF2B5EF4-FFF2-40B4-BE49-F238E27FC236}">
                <a16:creationId xmlns:a16="http://schemas.microsoft.com/office/drawing/2014/main" id="{0EC2FC67-72F7-BBEB-5D8D-006EDAD6D36A}"/>
              </a:ext>
            </a:extLst>
          </p:cNvPr>
          <p:cNvSpPr txBox="1">
            <a:spLocks/>
          </p:cNvSpPr>
          <p:nvPr/>
        </p:nvSpPr>
        <p:spPr>
          <a:xfrm>
            <a:off x="861615" y="4140538"/>
            <a:ext cx="5230424" cy="1271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9659" rIns="238079" bIns="39659" anchor="t" anchorCtr="0">
            <a:noAutofit/>
          </a:bodyPr>
          <a:lstStyle/>
          <a:p>
            <a:pPr>
              <a:lnSpc>
                <a:spcPts val="1900"/>
              </a:lnSpc>
              <a:buClr>
                <a:schemeClr val="tx2"/>
              </a:buClr>
            </a:pPr>
            <a:r>
              <a:rPr lang="en-US" sz="16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Extracting Insights with Text Summarization</a:t>
            </a:r>
          </a:p>
          <a:p>
            <a:pPr marL="173736" indent="-173736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ying OpenAI GPT-3 API model to perform text summarization</a:t>
            </a: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corporating trained embeddings and defining specific summarization objectives to extract tailored insights from the text.</a:t>
            </a:r>
          </a:p>
          <a:p>
            <a:pPr marL="173736" indent="-173736">
              <a:lnSpc>
                <a:spcPts val="19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3736" indent="-173736">
              <a:lnSpc>
                <a:spcPts val="19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658;p33">
            <a:extLst>
              <a:ext uri="{FF2B5EF4-FFF2-40B4-BE49-F238E27FC236}">
                <a16:creationId xmlns:a16="http://schemas.microsoft.com/office/drawing/2014/main" id="{ED93110E-7920-1183-7E23-6B269F7ACA6B}"/>
              </a:ext>
            </a:extLst>
          </p:cNvPr>
          <p:cNvSpPr txBox="1">
            <a:spLocks/>
          </p:cNvSpPr>
          <p:nvPr/>
        </p:nvSpPr>
        <p:spPr>
          <a:xfrm>
            <a:off x="861615" y="2570480"/>
            <a:ext cx="5230424" cy="1316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9659" rIns="238079" bIns="39659" anchor="t" anchorCtr="0">
            <a:noAutofit/>
          </a:bodyPr>
          <a:lstStyle/>
          <a:p>
            <a:pPr>
              <a:lnSpc>
                <a:spcPts val="1900"/>
              </a:lnSpc>
              <a:buClr>
                <a:schemeClr val="tx2"/>
              </a:buClr>
            </a:pPr>
            <a:r>
              <a:rPr lang="en-IN" sz="16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reating Candidate Comment Embeddings</a:t>
            </a:r>
          </a:p>
          <a:p>
            <a:pPr marL="173736" indent="-173736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N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kenizing candidate comments using custom NLP techniques for analysis preparation.</a:t>
            </a: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IN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tilizing OpenAI's Embeddings API to generate high-dimensional vector representations for each candidate comment.</a:t>
            </a: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endParaRPr lang="en-IN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endParaRPr lang="en-IN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endParaRPr lang="en-IN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659;p33">
            <a:extLst>
              <a:ext uri="{FF2B5EF4-FFF2-40B4-BE49-F238E27FC236}">
                <a16:creationId xmlns:a16="http://schemas.microsoft.com/office/drawing/2014/main" id="{4DDE2E15-EE04-11EF-1C1E-528149C1F8E4}"/>
              </a:ext>
            </a:extLst>
          </p:cNvPr>
          <p:cNvSpPr txBox="1">
            <a:spLocks/>
          </p:cNvSpPr>
          <p:nvPr/>
        </p:nvSpPr>
        <p:spPr>
          <a:xfrm>
            <a:off x="861614" y="5772144"/>
            <a:ext cx="5230368" cy="12724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9659" rIns="238079" bIns="39659" anchor="t" anchorCtr="0">
            <a:noAutofit/>
          </a:bodyPr>
          <a:lstStyle/>
          <a:p>
            <a:pPr>
              <a:lnSpc>
                <a:spcPts val="1900"/>
              </a:lnSpc>
              <a:buClr>
                <a:schemeClr val="tx2"/>
              </a:buClr>
            </a:pPr>
            <a:r>
              <a:rPr lang="en-US" sz="16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ustomized Comment Selection</a:t>
            </a:r>
          </a:p>
          <a:p>
            <a:pPr marL="173736" indent="-173736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tructing GPT-3 to prioritize comments related to specific topics specified by the client (e.g., discrimination, rudeness)</a:t>
            </a:r>
          </a:p>
          <a:p>
            <a:pPr marL="173736" indent="-173736">
              <a:lnSpc>
                <a:spcPts val="19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ying custom filters and thresholds to fine-tune the categorization ensuring the inclusion of the most meaningful insights.</a:t>
            </a:r>
            <a:endParaRPr lang="en-US" dirty="0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FFAF057-F6BB-6DB3-3EA3-764BEAC10275}"/>
              </a:ext>
            </a:extLst>
          </p:cNvPr>
          <p:cNvCxnSpPr/>
          <p:nvPr/>
        </p:nvCxnSpPr>
        <p:spPr>
          <a:xfrm>
            <a:off x="825989" y="4014861"/>
            <a:ext cx="53035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14E120-3E16-96FD-D7E2-90ABE4B019CE}"/>
              </a:ext>
            </a:extLst>
          </p:cNvPr>
          <p:cNvCxnSpPr/>
          <p:nvPr/>
        </p:nvCxnSpPr>
        <p:spPr>
          <a:xfrm>
            <a:off x="825989" y="5599871"/>
            <a:ext cx="53035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2835DB0-C2E8-EBF9-6A94-EBC6E9949F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3669" y="2519972"/>
            <a:ext cx="5395583" cy="324113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FC14237-E73F-7441-D292-7671CBD82DF0}"/>
              </a:ext>
            </a:extLst>
          </p:cNvPr>
          <p:cNvGrpSpPr>
            <a:grpSpLocks/>
          </p:cNvGrpSpPr>
          <p:nvPr/>
        </p:nvGrpSpPr>
        <p:grpSpPr>
          <a:xfrm>
            <a:off x="6626433" y="1903364"/>
            <a:ext cx="775165" cy="775165"/>
            <a:chOff x="4949498" y="4963842"/>
            <a:chExt cx="503992" cy="503992"/>
          </a:xfrm>
        </p:grpSpPr>
        <p:sp>
          <p:nvSpPr>
            <p:cNvPr id="27" name="Google Shape;557;p30">
              <a:extLst>
                <a:ext uri="{FF2B5EF4-FFF2-40B4-BE49-F238E27FC236}">
                  <a16:creationId xmlns:a16="http://schemas.microsoft.com/office/drawing/2014/main" id="{D7961754-B5B6-4945-1EE5-D6D734B29BEF}"/>
                </a:ext>
              </a:extLst>
            </p:cNvPr>
            <p:cNvSpPr/>
            <p:nvPr/>
          </p:nvSpPr>
          <p:spPr>
            <a:xfrm>
              <a:off x="4949498" y="4963842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algn="ctr"/>
              <a:endParaRPr sz="160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4764F969-85DE-1799-DA9F-E6168CDEE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44056" y="5066272"/>
              <a:ext cx="314876" cy="299132"/>
            </a:xfrm>
            <a:prstGeom prst="rect">
              <a:avLst/>
            </a:prstGeom>
          </p:spPr>
        </p:pic>
      </p:grpSp>
      <p:sp>
        <p:nvSpPr>
          <p:cNvPr id="6" name="Google Shape;545;p30">
            <a:extLst>
              <a:ext uri="{FF2B5EF4-FFF2-40B4-BE49-F238E27FC236}">
                <a16:creationId xmlns:a16="http://schemas.microsoft.com/office/drawing/2014/main" id="{02D2B64D-0020-6A82-6CFF-59190395A25A}"/>
              </a:ext>
            </a:extLst>
          </p:cNvPr>
          <p:cNvSpPr>
            <a:spLocks/>
          </p:cNvSpPr>
          <p:nvPr/>
        </p:nvSpPr>
        <p:spPr>
          <a:xfrm>
            <a:off x="540795" y="1849255"/>
            <a:ext cx="5760721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Highlighting Critic</a:t>
            </a:r>
            <a:r>
              <a:rPr lang="en-US" sz="1984" b="1" kern="1200" dirty="0">
                <a:solidFill>
                  <a:srgbClr val="FFFFFF"/>
                </a:solidFill>
                <a:ea typeface="+mn-ea"/>
                <a:cs typeface="Calibri" panose="020F0502020204030204" pitchFamily="34" charset="0"/>
              </a:rPr>
              <a:t>al Insights</a:t>
            </a:r>
            <a:endParaRPr kumimoji="0" lang="en-US" sz="198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70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7632E0-A9B6-6300-3681-8309FBA4D5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910649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7632E0-A9B6-6300-3681-8309FBA4D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FFDC0C8-D41E-9249-5051-7FD07B915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732893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Geospatial Analysis of Labor Catchment: </a:t>
            </a:r>
            <a:b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</a:br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Assessing Employment and Demographic Pattern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D25C050-5377-E25A-F073-4CCABE6F6C54}"/>
              </a:ext>
            </a:extLst>
          </p:cNvPr>
          <p:cNvSpPr>
            <a:spLocks/>
          </p:cNvSpPr>
          <p:nvPr/>
        </p:nvSpPr>
        <p:spPr>
          <a:xfrm flipH="1">
            <a:off x="11405815" y="618028"/>
            <a:ext cx="2033785" cy="977037"/>
          </a:xfrm>
          <a:prstGeom prst="homePlate">
            <a:avLst>
              <a:gd name="adj" fmla="val 1507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6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7" name="Google Shape;547;p30">
            <a:extLst>
              <a:ext uri="{FF2B5EF4-FFF2-40B4-BE49-F238E27FC236}">
                <a16:creationId xmlns:a16="http://schemas.microsoft.com/office/drawing/2014/main" id="{9FAAC4DC-3825-57EC-0FC1-A066631B09DB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26904" y="677992"/>
            <a:ext cx="949148" cy="85711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AC0603C7-F978-FD43-3417-DA06CFFD3C37}"/>
              </a:ext>
            </a:extLst>
          </p:cNvPr>
          <p:cNvSpPr>
            <a:spLocks/>
          </p:cNvSpPr>
          <p:nvPr/>
        </p:nvSpPr>
        <p:spPr>
          <a:xfrm>
            <a:off x="551025" y="2311315"/>
            <a:ext cx="4028843" cy="482566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dirty="0">
              <a:ea typeface="+mn-ea"/>
            </a:endParaRPr>
          </a:p>
        </p:txBody>
      </p:sp>
      <p:sp>
        <p:nvSpPr>
          <p:cNvPr id="9" name="Google Shape;831;p25">
            <a:extLst>
              <a:ext uri="{FF2B5EF4-FFF2-40B4-BE49-F238E27FC236}">
                <a16:creationId xmlns:a16="http://schemas.microsoft.com/office/drawing/2014/main" id="{52CAA3C6-ADF7-FB94-F057-9F0BD640C672}"/>
              </a:ext>
            </a:extLst>
          </p:cNvPr>
          <p:cNvSpPr>
            <a:spLocks/>
          </p:cNvSpPr>
          <p:nvPr/>
        </p:nvSpPr>
        <p:spPr>
          <a:xfrm>
            <a:off x="8858027" y="2311316"/>
            <a:ext cx="4028843" cy="4825665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10" name="Google Shape;831;p25">
            <a:extLst>
              <a:ext uri="{FF2B5EF4-FFF2-40B4-BE49-F238E27FC236}">
                <a16:creationId xmlns:a16="http://schemas.microsoft.com/office/drawing/2014/main" id="{A41EF20E-668B-6A10-A56A-84BE64FD2428}"/>
              </a:ext>
            </a:extLst>
          </p:cNvPr>
          <p:cNvSpPr>
            <a:spLocks/>
          </p:cNvSpPr>
          <p:nvPr/>
        </p:nvSpPr>
        <p:spPr>
          <a:xfrm>
            <a:off x="4705467" y="2311316"/>
            <a:ext cx="4028843" cy="4825665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14" name="Google Shape;540;p30">
            <a:extLst>
              <a:ext uri="{FF2B5EF4-FFF2-40B4-BE49-F238E27FC236}">
                <a16:creationId xmlns:a16="http://schemas.microsoft.com/office/drawing/2014/main" id="{6BFAFB3C-793B-14F2-55F6-5615C6B8E87A}"/>
              </a:ext>
            </a:extLst>
          </p:cNvPr>
          <p:cNvSpPr>
            <a:spLocks/>
          </p:cNvSpPr>
          <p:nvPr/>
        </p:nvSpPr>
        <p:spPr>
          <a:xfrm>
            <a:off x="8847209" y="1859084"/>
            <a:ext cx="4028843" cy="786902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Google Shape;545;p30">
            <a:extLst>
              <a:ext uri="{FF2B5EF4-FFF2-40B4-BE49-F238E27FC236}">
                <a16:creationId xmlns:a16="http://schemas.microsoft.com/office/drawing/2014/main" id="{AE014B29-22FD-E08A-F4AF-7733683C7771}"/>
              </a:ext>
            </a:extLst>
          </p:cNvPr>
          <p:cNvSpPr>
            <a:spLocks/>
          </p:cNvSpPr>
          <p:nvPr/>
        </p:nvSpPr>
        <p:spPr>
          <a:xfrm>
            <a:off x="551025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984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EE4393-D412-D55C-3EAC-C3FC0C8F7AE4}"/>
              </a:ext>
            </a:extLst>
          </p:cNvPr>
          <p:cNvGrpSpPr/>
          <p:nvPr/>
        </p:nvGrpSpPr>
        <p:grpSpPr>
          <a:xfrm>
            <a:off x="3820789" y="1925517"/>
            <a:ext cx="652780" cy="654038"/>
            <a:chOff x="3416568" y="1395569"/>
            <a:chExt cx="955760" cy="957600"/>
          </a:xfrm>
        </p:grpSpPr>
        <p:sp>
          <p:nvSpPr>
            <p:cNvPr id="19" name="Google Shape;551;p30">
              <a:extLst>
                <a:ext uri="{FF2B5EF4-FFF2-40B4-BE49-F238E27FC236}">
                  <a16:creationId xmlns:a16="http://schemas.microsoft.com/office/drawing/2014/main" id="{73D1234C-2C67-2EB7-D5F5-24121A4F62B5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20" name="Google Shape;552;p30">
              <a:extLst>
                <a:ext uri="{FF2B5EF4-FFF2-40B4-BE49-F238E27FC236}">
                  <a16:creationId xmlns:a16="http://schemas.microsoft.com/office/drawing/2014/main" id="{FBDA501D-A570-09C1-42DF-BA93CAB7C45D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" name="Google Shape;566;p30">
            <a:extLst>
              <a:ext uri="{FF2B5EF4-FFF2-40B4-BE49-F238E27FC236}">
                <a16:creationId xmlns:a16="http://schemas.microsoft.com/office/drawing/2014/main" id="{802C6218-0E8B-29B8-9AB9-A60612607102}"/>
              </a:ext>
            </a:extLst>
          </p:cNvPr>
          <p:cNvSpPr>
            <a:spLocks/>
          </p:cNvSpPr>
          <p:nvPr/>
        </p:nvSpPr>
        <p:spPr>
          <a:xfrm>
            <a:off x="4699117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984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31B6241-4A24-5448-8E21-D74ED4AE2693}"/>
              </a:ext>
            </a:extLst>
          </p:cNvPr>
          <p:cNvGrpSpPr/>
          <p:nvPr/>
        </p:nvGrpSpPr>
        <p:grpSpPr>
          <a:xfrm>
            <a:off x="7962149" y="1925517"/>
            <a:ext cx="652780" cy="654038"/>
            <a:chOff x="7762572" y="1395569"/>
            <a:chExt cx="955760" cy="957600"/>
          </a:xfrm>
        </p:grpSpPr>
        <p:sp>
          <p:nvSpPr>
            <p:cNvPr id="24" name="Google Shape;568;p30">
              <a:extLst>
                <a:ext uri="{FF2B5EF4-FFF2-40B4-BE49-F238E27FC236}">
                  <a16:creationId xmlns:a16="http://schemas.microsoft.com/office/drawing/2014/main" id="{C8BA6C61-57F7-5455-045C-6A0D5EDACDBB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760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25" name="Google Shape;569;p30">
              <a:extLst>
                <a:ext uri="{FF2B5EF4-FFF2-40B4-BE49-F238E27FC236}">
                  <a16:creationId xmlns:a16="http://schemas.microsoft.com/office/drawing/2014/main" id="{CA0C2E3B-7276-F3E1-73F8-BA140D862055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AE51361-A263-536C-DAD8-B16B27843287}"/>
              </a:ext>
            </a:extLst>
          </p:cNvPr>
          <p:cNvGrpSpPr/>
          <p:nvPr/>
        </p:nvGrpSpPr>
        <p:grpSpPr>
          <a:xfrm>
            <a:off x="12123143" y="1925517"/>
            <a:ext cx="652780" cy="654038"/>
            <a:chOff x="12019931" y="1366765"/>
            <a:chExt cx="955760" cy="957600"/>
          </a:xfrm>
        </p:grpSpPr>
        <p:sp>
          <p:nvSpPr>
            <p:cNvPr id="27" name="Google Shape;583;p30">
              <a:extLst>
                <a:ext uri="{FF2B5EF4-FFF2-40B4-BE49-F238E27FC236}">
                  <a16:creationId xmlns:a16="http://schemas.microsoft.com/office/drawing/2014/main" id="{03AF0B2E-D144-D1AC-B940-50B2FD3F9BCE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>
                <a:solidFill>
                  <a:srgbClr val="FFFFFF"/>
                </a:solidFill>
                <a:highlight>
                  <a:srgbClr val="FFFF00"/>
                </a:highlight>
                <a:ea typeface="+mn-ea"/>
              </a:endParaRPr>
            </a:p>
          </p:txBody>
        </p:sp>
        <p:grpSp>
          <p:nvGrpSpPr>
            <p:cNvPr id="28" name="Google Shape;584;p30">
              <a:extLst>
                <a:ext uri="{FF2B5EF4-FFF2-40B4-BE49-F238E27FC236}">
                  <a16:creationId xmlns:a16="http://schemas.microsoft.com/office/drawing/2014/main" id="{6827B9F5-1B5C-9594-DF97-9B4EA627F0D5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29" name="Google Shape;585;p30">
                <a:extLst>
                  <a:ext uri="{FF2B5EF4-FFF2-40B4-BE49-F238E27FC236}">
                    <a16:creationId xmlns:a16="http://schemas.microsoft.com/office/drawing/2014/main" id="{835E3102-15A4-CFC1-F0F5-5259256C032F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" name="Google Shape;586;p30">
                <a:extLst>
                  <a:ext uri="{FF2B5EF4-FFF2-40B4-BE49-F238E27FC236}">
                    <a16:creationId xmlns:a16="http://schemas.microsoft.com/office/drawing/2014/main" id="{A1560FED-75CB-A814-B621-705C4284CCEC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" name="Google Shape;541;p30">
            <a:extLst>
              <a:ext uri="{FF2B5EF4-FFF2-40B4-BE49-F238E27FC236}">
                <a16:creationId xmlns:a16="http://schemas.microsoft.com/office/drawing/2014/main" id="{B89D3427-A305-253E-9248-40D265AC22E6}"/>
              </a:ext>
            </a:extLst>
          </p:cNvPr>
          <p:cNvSpPr txBox="1"/>
          <p:nvPr/>
        </p:nvSpPr>
        <p:spPr>
          <a:xfrm>
            <a:off x="9919083" y="2095572"/>
            <a:ext cx="1885096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3" name="Google Shape;546;p30">
            <a:extLst>
              <a:ext uri="{FF2B5EF4-FFF2-40B4-BE49-F238E27FC236}">
                <a16:creationId xmlns:a16="http://schemas.microsoft.com/office/drawing/2014/main" id="{5DBA1FF9-00CA-DE5D-E5F7-CFB585CB7574}"/>
              </a:ext>
            </a:extLst>
          </p:cNvPr>
          <p:cNvSpPr txBox="1"/>
          <p:nvPr/>
        </p:nvSpPr>
        <p:spPr>
          <a:xfrm>
            <a:off x="1343228" y="2095572"/>
            <a:ext cx="2444437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33" name="Google Shape;567;p30">
            <a:extLst>
              <a:ext uri="{FF2B5EF4-FFF2-40B4-BE49-F238E27FC236}">
                <a16:creationId xmlns:a16="http://schemas.microsoft.com/office/drawing/2014/main" id="{6ECC9F43-A07F-18F7-C831-FD2F07E31CE4}"/>
              </a:ext>
            </a:extLst>
          </p:cNvPr>
          <p:cNvSpPr txBox="1"/>
          <p:nvPr/>
        </p:nvSpPr>
        <p:spPr>
          <a:xfrm>
            <a:off x="5743492" y="2095572"/>
            <a:ext cx="1940091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35" name="Google Shape;563;p30">
            <a:extLst>
              <a:ext uri="{FF2B5EF4-FFF2-40B4-BE49-F238E27FC236}">
                <a16:creationId xmlns:a16="http://schemas.microsoft.com/office/drawing/2014/main" id="{F6B62C8F-4118-92E1-1F6E-BE01BC2F2812}"/>
              </a:ext>
            </a:extLst>
          </p:cNvPr>
          <p:cNvSpPr txBox="1">
            <a:spLocks/>
          </p:cNvSpPr>
          <p:nvPr/>
        </p:nvSpPr>
        <p:spPr>
          <a:xfrm>
            <a:off x="9056239" y="2731716"/>
            <a:ext cx="3527984" cy="3849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endParaRPr lang="en-US"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rehensive KPI Insights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Delivered a report with averaged KPIs for each buffer zone (e.g., unemployment, educational background, and wages).</a:t>
            </a:r>
          </a:p>
          <a:p>
            <a:pPr marL="173737" indent="-173737" defTabSz="914406">
              <a:lnSpc>
                <a:spcPts val="1800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eamless Data Exploration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Developed a user-friendly graphical interface that enables customized analyses. </a:t>
            </a:r>
          </a:p>
          <a:p>
            <a:pPr marL="173737" indent="-173737" defTabSz="914406">
              <a:lnSpc>
                <a:spcPts val="1800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601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calable Expansion Potential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The graphical interface could be expanded to cover additional European countries for future analysis.</a:t>
            </a:r>
          </a:p>
        </p:txBody>
      </p:sp>
      <p:sp>
        <p:nvSpPr>
          <p:cNvPr id="37" name="Google Shape;574;p30">
            <a:extLst>
              <a:ext uri="{FF2B5EF4-FFF2-40B4-BE49-F238E27FC236}">
                <a16:creationId xmlns:a16="http://schemas.microsoft.com/office/drawing/2014/main" id="{3DAFA8F1-CAF0-A738-1CA9-7CE2250663F9}"/>
              </a:ext>
            </a:extLst>
          </p:cNvPr>
          <p:cNvSpPr txBox="1">
            <a:spLocks/>
          </p:cNvSpPr>
          <p:nvPr/>
        </p:nvSpPr>
        <p:spPr>
          <a:xfrm>
            <a:off x="785498" y="3929378"/>
            <a:ext cx="3584227" cy="2585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74322" indent="-274322" defTabSz="914406">
              <a:buClr>
                <a:srgbClr val="0F47F2"/>
              </a:buClr>
              <a:buFont typeface="+mj-lt"/>
              <a:buAutoNum type="arabicPeriod"/>
            </a:pPr>
            <a:r>
              <a:rPr lang="en-US" dirty="0">
                <a:solidFill>
                  <a:srgbClr val="374151"/>
                </a:solidFill>
                <a:latin typeface="Calibri" panose="020F0502020204030204"/>
                <a:ea typeface="+mn-ea"/>
              </a:rPr>
              <a:t>Identifying the most relevant indicators and reliable data sources that will provide them with comprehensive insights.</a:t>
            </a:r>
          </a:p>
          <a:p>
            <a:pPr marL="274322" indent="-274322" defTabSz="914406">
              <a:buClr>
                <a:srgbClr val="0F47F2"/>
              </a:buClr>
              <a:buFont typeface="+mj-lt"/>
              <a:buAutoNum type="arabicPeriod"/>
            </a:pPr>
            <a:endParaRPr lang="en-US" dirty="0">
              <a:solidFill>
                <a:srgbClr val="374151"/>
              </a:solidFill>
              <a:latin typeface="Calibri" panose="020F0502020204030204"/>
              <a:ea typeface="+mn-ea"/>
            </a:endParaRPr>
          </a:p>
          <a:p>
            <a:pPr marL="274322" indent="-274322" defTabSz="914406">
              <a:buClr>
                <a:srgbClr val="0F47F2"/>
              </a:buClr>
              <a:buFont typeface="+mj-lt"/>
              <a:buAutoNum type="arabicPeriod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Calculating the percentage area of each municipality and the estimated population within designated buffer zones based on specific geographic coordinates. </a:t>
            </a:r>
          </a:p>
          <a:p>
            <a:pPr marL="274322" indent="-274322" defTabSz="914406">
              <a:buClr>
                <a:srgbClr val="0F47F2"/>
              </a:buClr>
              <a:buFont typeface="+mj-lt"/>
              <a:buAutoNum type="arabicPeriod"/>
            </a:pPr>
            <a:endParaRPr lang="en-US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2" indent="-274322" defTabSz="914406">
              <a:buClr>
                <a:srgbClr val="0F47F2"/>
              </a:buClr>
              <a:buFont typeface="+mj-lt"/>
              <a:buAutoNum type="arabicPeriod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Visualizing the collected data into a geospatial to identify patterns, hotspot areas with higher needs, and make data-driven decisions regarding the optimal placement of our unemployment center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556E-610A-3C17-BC93-8075A7655F0B}"/>
              </a:ext>
            </a:extLst>
          </p:cNvPr>
          <p:cNvSpPr txBox="1"/>
          <p:nvPr/>
        </p:nvSpPr>
        <p:spPr>
          <a:xfrm>
            <a:off x="4778079" y="2668453"/>
            <a:ext cx="3829895" cy="4294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6">
              <a:buClr>
                <a:srgbClr val="00B9FF"/>
              </a:buClr>
            </a:pP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nfomineo’ s Data Analytics team addressed the client’s need by:</a:t>
            </a:r>
          </a:p>
          <a:p>
            <a:pPr defTabSz="914406">
              <a:spcBef>
                <a:spcPts val="600"/>
              </a:spcBef>
              <a:buClr>
                <a:srgbClr val="00B9FF"/>
              </a:buClr>
            </a:pPr>
            <a:r>
              <a:rPr lang="en-US" sz="1601" b="1" dirty="0">
                <a:latin typeface="Calibri" panose="020F0502020204030204"/>
                <a:ea typeface="+mn-ea"/>
              </a:rPr>
              <a:t>Indicator Identification</a:t>
            </a:r>
            <a:endParaRPr lang="en-US" sz="1601" dirty="0">
              <a:latin typeface="Calibri" panose="020F0502020204030204"/>
              <a:ea typeface="+mn-ea"/>
            </a:endParaRPr>
          </a:p>
          <a:p>
            <a:pPr defTabSz="914406">
              <a:buClr>
                <a:srgbClr val="00B9FF"/>
              </a:buClr>
            </a:pPr>
            <a:r>
              <a:rPr lang="en-US" dirty="0">
                <a:solidFill>
                  <a:srgbClr val="374151"/>
                </a:solidFill>
                <a:latin typeface="Calibri" panose="020F0502020204030204"/>
                <a:ea typeface="+mn-ea"/>
              </a:rPr>
              <a:t>Selecting relevant criteria such as population statistics, socio-economic factors, and geographic boundaries.</a:t>
            </a:r>
          </a:p>
          <a:p>
            <a:pPr defTabSz="914406">
              <a:spcBef>
                <a:spcPts val="600"/>
              </a:spcBef>
              <a:buClr>
                <a:srgbClr val="00B9FF"/>
              </a:buClr>
            </a:pPr>
            <a:r>
              <a:rPr lang="en-US" sz="1601" b="1" dirty="0">
                <a:latin typeface="Calibri" panose="020F0502020204030204"/>
                <a:ea typeface="+mn-ea"/>
              </a:rPr>
              <a:t>Modelling</a:t>
            </a:r>
          </a:p>
          <a:p>
            <a:pPr marL="342902" lvl="2" indent="-342902" defTabSz="914406">
              <a:spcBef>
                <a:spcPts val="600"/>
              </a:spcBef>
              <a:buClr>
                <a:srgbClr val="0F47F2"/>
              </a:buClr>
              <a:buFont typeface="+mj-lt"/>
              <a:buAutoNum type="arabicPeriod"/>
            </a:pPr>
            <a:r>
              <a:rPr lang="en-US" dirty="0">
                <a:solidFill>
                  <a:srgbClr val="374151"/>
                </a:solidFill>
                <a:latin typeface="Calibri" panose="020F0502020204030204"/>
                <a:ea typeface="+mn-ea"/>
              </a:rPr>
              <a:t>Calculation of the percentage area of each municipality within designated buffer zones based geographic coordinates. </a:t>
            </a:r>
          </a:p>
          <a:p>
            <a:pPr marL="342902" lvl="2" indent="-342902" defTabSz="914406">
              <a:spcBef>
                <a:spcPts val="600"/>
              </a:spcBef>
              <a:buClr>
                <a:srgbClr val="0F47F2"/>
              </a:buClr>
              <a:buFont typeface="+mj-lt"/>
              <a:buAutoNum type="arabicPeriod"/>
            </a:pPr>
            <a:r>
              <a:rPr lang="en-US" dirty="0">
                <a:solidFill>
                  <a:srgbClr val="374151"/>
                </a:solidFill>
                <a:latin typeface="Calibri" panose="020F0502020204030204"/>
                <a:ea typeface="+mn-ea"/>
              </a:rPr>
              <a:t>Development of an algorithm that accounted for a homogeneous distribution of the population.</a:t>
            </a:r>
          </a:p>
          <a:p>
            <a:pPr defTabSz="914406">
              <a:spcBef>
                <a:spcPts val="600"/>
              </a:spcBef>
              <a:buClr>
                <a:srgbClr val="00B9FF"/>
              </a:buClr>
            </a:pPr>
            <a:r>
              <a:rPr lang="en-US" sz="1601" b="1" dirty="0">
                <a:latin typeface="Calibri" panose="020F0502020204030204"/>
                <a:ea typeface="+mn-ea"/>
              </a:rPr>
              <a:t>Geocoding &amp; Visualization</a:t>
            </a:r>
          </a:p>
          <a:p>
            <a:pPr defTabSz="914406">
              <a:buClr>
                <a:srgbClr val="00B9FF"/>
              </a:buClr>
            </a:pPr>
            <a:r>
              <a:rPr lang="en-US" dirty="0">
                <a:solidFill>
                  <a:srgbClr val="374151"/>
                </a:solidFill>
                <a:latin typeface="Calibri" panose="020F0502020204030204"/>
                <a:ea typeface="+mn-ea"/>
              </a:rPr>
              <a:t>Use of geocoding techniques to transform location data into precise geographical coordinates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39BA2E-7086-C3FB-6014-E1E058F2ED37}"/>
              </a:ext>
            </a:extLst>
          </p:cNvPr>
          <p:cNvSpPr txBox="1"/>
          <p:nvPr/>
        </p:nvSpPr>
        <p:spPr>
          <a:xfrm>
            <a:off x="685210" y="2703751"/>
            <a:ext cx="390547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6"/>
            <a:r>
              <a:rPr lang="en-US" dirty="0">
                <a:latin typeface="Calibri" panose="020F0502020204030204"/>
                <a:ea typeface="+mn-ea"/>
              </a:rPr>
              <a:t>The client needed to identify optimal locations for unemployment centers and accurately assessing the population in need and its characteristics.</a:t>
            </a:r>
          </a:p>
          <a:p>
            <a:pPr defTabSz="914406"/>
            <a:endParaRPr lang="en-US" dirty="0">
              <a:latin typeface="Calibri" panose="020F0502020204030204"/>
              <a:ea typeface="+mn-ea"/>
            </a:endParaRPr>
          </a:p>
          <a:p>
            <a:pPr defTabSz="914406"/>
            <a:r>
              <a:rPr lang="en-US" dirty="0">
                <a:latin typeface="Calibri" panose="020F0502020204030204"/>
                <a:ea typeface="+mn-ea"/>
              </a:rPr>
              <a:t>The firm was looking for : </a:t>
            </a:r>
          </a:p>
        </p:txBody>
      </p:sp>
    </p:spTree>
    <p:extLst>
      <p:ext uri="{BB962C8B-B14F-4D97-AF65-F5344CB8AC3E}">
        <p14:creationId xmlns:p14="http://schemas.microsoft.com/office/powerpoint/2010/main" val="2166693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897BCE-14ED-1B6A-033C-C9FB90316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000380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897BCE-14ED-1B6A-033C-C9FB9031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842A9F8-55E4-BB28-EC78-56CEB8BFD4DB}"/>
              </a:ext>
            </a:extLst>
          </p:cNvPr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391858" y="2388241"/>
            <a:ext cx="4969537" cy="41146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27EAAA40-79B3-2C9D-FA74-0AE0E793AD04}"/>
              </a:ext>
            </a:extLst>
          </p:cNvPr>
          <p:cNvGrpSpPr>
            <a:grpSpLocks/>
          </p:cNvGrpSpPr>
          <p:nvPr/>
        </p:nvGrpSpPr>
        <p:grpSpPr>
          <a:xfrm>
            <a:off x="11891932" y="2016487"/>
            <a:ext cx="775144" cy="775144"/>
            <a:chOff x="803725" y="5176815"/>
            <a:chExt cx="503992" cy="503992"/>
          </a:xfrm>
        </p:grpSpPr>
        <p:sp>
          <p:nvSpPr>
            <p:cNvPr id="17" name="Google Shape;557;p30">
              <a:extLst>
                <a:ext uri="{FF2B5EF4-FFF2-40B4-BE49-F238E27FC236}">
                  <a16:creationId xmlns:a16="http://schemas.microsoft.com/office/drawing/2014/main" id="{7F98F1BF-71FC-BAD4-C84C-63DC9F86450F}"/>
                </a:ext>
              </a:extLst>
            </p:cNvPr>
            <p:cNvSpPr/>
            <p:nvPr/>
          </p:nvSpPr>
          <p:spPr>
            <a:xfrm>
              <a:off x="803725" y="5176815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60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C643D3A-401F-4836-719A-B2DB77A0F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4187" y="5259959"/>
              <a:ext cx="303068" cy="337705"/>
            </a:xfrm>
            <a:prstGeom prst="rect">
              <a:avLst/>
            </a:prstGeom>
          </p:spPr>
        </p:pic>
      </p:grpSp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EBCA1D99-A0B8-1FB3-6D1B-DDEED9A6ADC7}"/>
              </a:ext>
            </a:extLst>
          </p:cNvPr>
          <p:cNvSpPr>
            <a:spLocks/>
          </p:cNvSpPr>
          <p:nvPr/>
        </p:nvSpPr>
        <p:spPr>
          <a:xfrm>
            <a:off x="490243" y="2144363"/>
            <a:ext cx="5942887" cy="5234612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dirty="0">
              <a:ea typeface="+mn-ea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35220E9-E185-4F64-7AFF-A5004A007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732893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Geospatial Analysis of Labor Catchment: </a:t>
            </a:r>
            <a:b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</a:br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Assessing Employment and Demographic Patter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9FB528-C289-D77E-367D-2A0552058CFE}"/>
              </a:ext>
            </a:extLst>
          </p:cNvPr>
          <p:cNvSpPr txBox="1"/>
          <p:nvPr/>
        </p:nvSpPr>
        <p:spPr>
          <a:xfrm>
            <a:off x="648738" y="2863106"/>
            <a:ext cx="5563992" cy="4162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4982" indent="-314982" defTabSz="914406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+mn-ea"/>
              </a:rPr>
              <a:t>Extensive municipal data acquisition: </a:t>
            </a:r>
            <a:r>
              <a:rPr lang="en-US" sz="1764" dirty="0">
                <a:latin typeface="Calibri" panose="020F0502020204030204"/>
                <a:ea typeface="+mn-ea"/>
              </a:rPr>
              <a:t>Gather comprehensive data on municipality boundaries and population statistics.</a:t>
            </a:r>
          </a:p>
          <a:p>
            <a:pPr marL="314982" indent="-314982" defTabSz="914406">
              <a:spcBef>
                <a:spcPts val="661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+mn-ea"/>
              </a:rPr>
              <a:t>Relevant Data Compilation</a:t>
            </a:r>
            <a:r>
              <a:rPr lang="en-US" sz="1764" dirty="0">
                <a:latin typeface="Calibri" panose="020F0502020204030204"/>
                <a:ea typeface="+mn-ea"/>
              </a:rPr>
              <a:t>: Compile additional data on unemployment rates, poverty levels, education background, and regional wages.</a:t>
            </a:r>
          </a:p>
          <a:p>
            <a:pPr marL="314982" indent="-314982" defTabSz="914406">
              <a:spcBef>
                <a:spcPts val="661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+mn-ea"/>
              </a:rPr>
              <a:t>User-Friendly Interface</a:t>
            </a:r>
            <a:r>
              <a:rPr lang="en-US" sz="1764" dirty="0">
                <a:latin typeface="Calibri" panose="020F0502020204030204"/>
                <a:ea typeface="+mn-ea"/>
              </a:rPr>
              <a:t>: Develop a user-friendly interface for easy excel report requests and uploads. Users can efficiently extract relevant data by inputting specific locations or batches of coordinates for buffer zones.</a:t>
            </a:r>
          </a:p>
          <a:p>
            <a:pPr marL="314982" indent="-314982" defTabSz="914406">
              <a:spcBef>
                <a:spcPts val="661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+mn-ea"/>
              </a:rPr>
              <a:t>Interactive Mapping</a:t>
            </a:r>
            <a:r>
              <a:rPr lang="en-US" sz="1764" dirty="0">
                <a:latin typeface="Calibri" panose="020F0502020204030204"/>
                <a:ea typeface="+mn-ea"/>
              </a:rPr>
              <a:t>:  Create an interactive map that provides a visually immersive exploration of the collected data. </a:t>
            </a:r>
          </a:p>
        </p:txBody>
      </p:sp>
      <p:sp>
        <p:nvSpPr>
          <p:cNvPr id="6" name="Google Shape;545;p30">
            <a:extLst>
              <a:ext uri="{FF2B5EF4-FFF2-40B4-BE49-F238E27FC236}">
                <a16:creationId xmlns:a16="http://schemas.microsoft.com/office/drawing/2014/main" id="{AB29E1ED-7EE6-123D-AFA8-72F10C0C173A}"/>
              </a:ext>
            </a:extLst>
          </p:cNvPr>
          <p:cNvSpPr>
            <a:spLocks/>
          </p:cNvSpPr>
          <p:nvPr/>
        </p:nvSpPr>
        <p:spPr>
          <a:xfrm>
            <a:off x="459292" y="2001412"/>
            <a:ext cx="5942887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r>
              <a:rPr lang="en-US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mineo Approach</a:t>
            </a:r>
          </a:p>
        </p:txBody>
      </p:sp>
    </p:spTree>
    <p:extLst>
      <p:ext uri="{BB962C8B-B14F-4D97-AF65-F5344CB8AC3E}">
        <p14:creationId xmlns:p14="http://schemas.microsoft.com/office/powerpoint/2010/main" val="28150359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7AC374-AF02-DBFD-5C0D-2340FEFF9B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19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9320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164B08-C9C4-AF04-938F-225C2F5D5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59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erson sitting at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E89F555F-A222-9F85-BC78-E71BD3A3D3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3" t="8265" r="2520" b="20883"/>
          <a:stretch/>
        </p:blipFill>
        <p:spPr>
          <a:xfrm>
            <a:off x="7027603" y="549275"/>
            <a:ext cx="5809240" cy="7010400"/>
          </a:xfrm>
          <a:prstGeom prst="rect">
            <a:avLst/>
          </a:prstGeom>
        </p:spPr>
      </p:pic>
      <p:sp>
        <p:nvSpPr>
          <p:cNvPr id="365" name="Google Shape;365;p3"/>
          <p:cNvSpPr/>
          <p:nvPr/>
        </p:nvSpPr>
        <p:spPr>
          <a:xfrm>
            <a:off x="550863" y="2486247"/>
            <a:ext cx="5467664" cy="3822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1.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 Comprehensive Dashboard of Key HR Metrics and Performance Indicators</a:t>
            </a:r>
          </a:p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2.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b Scraping Tool for Second-Hand Car Sales</a:t>
            </a:r>
          </a:p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3.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apping Banking Services: An Analysis of Branch Locations and Demographics</a:t>
            </a:r>
          </a:p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4.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ssessing Candidates’ Experience through </a:t>
            </a:r>
            <a:b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ntiment Analysis</a:t>
            </a:r>
          </a:p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</a:rPr>
              <a:t>5.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eospatial Analysis of Labor Catchment: </a:t>
            </a:r>
            <a:b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ssessing Employment and Demographic Patter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05AB88F-3785-6B5F-2B31-89290E1D8BC8}"/>
              </a:ext>
            </a:extLst>
          </p:cNvPr>
          <p:cNvSpPr/>
          <p:nvPr/>
        </p:nvSpPr>
        <p:spPr>
          <a:xfrm>
            <a:off x="550863" y="512286"/>
            <a:ext cx="616902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4800" dirty="0">
                <a:solidFill>
                  <a:schemeClr val="accent3">
                    <a:lumMod val="60000"/>
                    <a:lumOff val="40000"/>
                  </a:schemeClr>
                </a:solidFill>
                <a:latin typeface="Franklin Gothic Demi" panose="020B0703020102020204" pitchFamily="34" charset="0"/>
              </a:rPr>
              <a:t>DATA ANALYTICS USE CASES EXAMPLE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9B19D4-721A-1E3B-3109-B9E7D5208C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126118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9B19D4-721A-1E3B-3109-B9E7D5208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70F8A52-34A2-E5E1-1B79-682E413E1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732893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A Comprehensive Dashboard of Key HR Metrics </a:t>
            </a:r>
            <a:b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</a:br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and Performance Indicators</a:t>
            </a:r>
          </a:p>
        </p:txBody>
      </p:sp>
      <p:sp>
        <p:nvSpPr>
          <p:cNvPr id="117" name="Arrow: Pentagon 116">
            <a:extLst>
              <a:ext uri="{FF2B5EF4-FFF2-40B4-BE49-F238E27FC236}">
                <a16:creationId xmlns:a16="http://schemas.microsoft.com/office/drawing/2014/main" id="{F60E6805-D191-AAAC-721D-97766D150312}"/>
              </a:ext>
            </a:extLst>
          </p:cNvPr>
          <p:cNvSpPr>
            <a:spLocks/>
          </p:cNvSpPr>
          <p:nvPr/>
        </p:nvSpPr>
        <p:spPr>
          <a:xfrm flipH="1">
            <a:off x="11405815" y="618028"/>
            <a:ext cx="2033785" cy="977037"/>
          </a:xfrm>
          <a:prstGeom prst="homePlate">
            <a:avLst>
              <a:gd name="adj" fmla="val 1507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6"/>
            <a:endParaRPr lang="en-US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3" name="Google Shape;831;p25">
            <a:extLst>
              <a:ext uri="{FF2B5EF4-FFF2-40B4-BE49-F238E27FC236}">
                <a16:creationId xmlns:a16="http://schemas.microsoft.com/office/drawing/2014/main" id="{D79C79E1-9FD4-A584-4F44-463E677B2BE6}"/>
              </a:ext>
            </a:extLst>
          </p:cNvPr>
          <p:cNvSpPr>
            <a:spLocks/>
          </p:cNvSpPr>
          <p:nvPr/>
        </p:nvSpPr>
        <p:spPr>
          <a:xfrm>
            <a:off x="551025" y="2311316"/>
            <a:ext cx="4028843" cy="4630332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dirty="0">
              <a:ea typeface="+mn-ea"/>
            </a:endParaRPr>
          </a:p>
        </p:txBody>
      </p:sp>
      <p:sp>
        <p:nvSpPr>
          <p:cNvPr id="64" name="Google Shape;831;p25">
            <a:extLst>
              <a:ext uri="{FF2B5EF4-FFF2-40B4-BE49-F238E27FC236}">
                <a16:creationId xmlns:a16="http://schemas.microsoft.com/office/drawing/2014/main" id="{D95811C9-B676-7005-593A-F3C2E0DF10B2}"/>
              </a:ext>
            </a:extLst>
          </p:cNvPr>
          <p:cNvSpPr>
            <a:spLocks/>
          </p:cNvSpPr>
          <p:nvPr/>
        </p:nvSpPr>
        <p:spPr>
          <a:xfrm>
            <a:off x="8858027" y="2311316"/>
            <a:ext cx="4028843" cy="4630333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65" name="Google Shape;831;p25">
            <a:extLst>
              <a:ext uri="{FF2B5EF4-FFF2-40B4-BE49-F238E27FC236}">
                <a16:creationId xmlns:a16="http://schemas.microsoft.com/office/drawing/2014/main" id="{7BA4A2F5-B9EF-10F4-13B0-86B15FA65BDC}"/>
              </a:ext>
            </a:extLst>
          </p:cNvPr>
          <p:cNvSpPr>
            <a:spLocks/>
          </p:cNvSpPr>
          <p:nvPr/>
        </p:nvSpPr>
        <p:spPr>
          <a:xfrm>
            <a:off x="4704526" y="2311316"/>
            <a:ext cx="4028843" cy="4630332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46" name="Google Shape;563;p30">
            <a:extLst>
              <a:ext uri="{FF2B5EF4-FFF2-40B4-BE49-F238E27FC236}">
                <a16:creationId xmlns:a16="http://schemas.microsoft.com/office/drawing/2014/main" id="{6604BE4A-F4BF-28A9-9640-54ABD8289778}"/>
              </a:ext>
            </a:extLst>
          </p:cNvPr>
          <p:cNvSpPr txBox="1">
            <a:spLocks/>
          </p:cNvSpPr>
          <p:nvPr/>
        </p:nvSpPr>
        <p:spPr>
          <a:xfrm>
            <a:off x="9014514" y="2768505"/>
            <a:ext cx="3796528" cy="4057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3" defTabSz="914406">
              <a:lnSpc>
                <a:spcPts val="2000"/>
              </a:lnSpc>
            </a:pPr>
            <a:r>
              <a:rPr lang="en-IN" sz="160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  <a:endParaRPr sz="1601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table and Reliable Data:</a:t>
            </a:r>
          </a:p>
          <a:p>
            <a:pPr marL="285751" lvl="5" indent="-285751" defTabSz="914406">
              <a:lnSpc>
                <a:spcPts val="2000"/>
              </a:lnSpc>
              <a:buClrTx/>
              <a:buFont typeface="Calibri" panose="020F0502020204030204" pitchFamily="34" charset="0"/>
              <a:buChar char="⁻"/>
            </a:pP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rrection &amp; Standardization of ERP data, </a:t>
            </a:r>
            <a:r>
              <a:rPr lang="en-US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liminating manual file usage</a:t>
            </a:r>
          </a:p>
          <a:p>
            <a:pPr marL="285751" lvl="5" indent="-285751" defTabSz="914406">
              <a:lnSpc>
                <a:spcPts val="2000"/>
              </a:lnSpc>
              <a:buClrTx/>
              <a:buFont typeface="Calibri" panose="020F0502020204030204" pitchFamily="34" charset="0"/>
              <a:buChar char="⁻"/>
            </a:pP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ignificant enhancement in </a:t>
            </a:r>
            <a:r>
              <a:rPr lang="en-US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ccuracy</a:t>
            </a:r>
            <a:r>
              <a:rPr lang="en-US" sz="1601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+75% </a:t>
            </a: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for Critical Data Elements</a:t>
            </a:r>
          </a:p>
          <a:p>
            <a:pPr marL="285751" lvl="3" indent="-285751" defTabSz="914406">
              <a:lnSpc>
                <a:spcPts val="2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Organizational Efficiency:</a:t>
            </a:r>
            <a:r>
              <a:rPr lang="en-US" sz="1601" b="1" dirty="0">
                <a:solidFill>
                  <a:srgbClr val="0F47F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</a:t>
            </a:r>
            <a:r>
              <a:rPr lang="en-US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1 HR FTE </a:t>
            </a: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reallocated to other tasks due to streamlined data processes.</a:t>
            </a:r>
          </a:p>
          <a:p>
            <a:pPr marL="285751" lvl="3" indent="-285751" defTabSz="914406">
              <a:lnSpc>
                <a:spcPts val="2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anywide Transformation</a:t>
            </a:r>
            <a:r>
              <a:rPr lang="en-US" sz="160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: </a:t>
            </a: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embarked on a </a:t>
            </a:r>
            <a:r>
              <a:rPr lang="en-US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ata transformation journey</a:t>
            </a: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, partnering with Infomineo to create </a:t>
            </a:r>
            <a:r>
              <a:rPr lang="en-US" dirty="0" err="1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lsol</a:t>
            </a:r>
            <a:r>
              <a:rPr lang="en-US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</a:t>
            </a:r>
            <a:r>
              <a:rPr lang="en-US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financial dashboards</a:t>
            </a:r>
            <a:endParaRPr sz="1601" b="1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543;p30">
            <a:extLst>
              <a:ext uri="{FF2B5EF4-FFF2-40B4-BE49-F238E27FC236}">
                <a16:creationId xmlns:a16="http://schemas.microsoft.com/office/drawing/2014/main" id="{965346D9-9F85-F85E-25C0-97943DF282ED}"/>
              </a:ext>
            </a:extLst>
          </p:cNvPr>
          <p:cNvSpPr txBox="1">
            <a:spLocks/>
          </p:cNvSpPr>
          <p:nvPr/>
        </p:nvSpPr>
        <p:spPr>
          <a:xfrm>
            <a:off x="801455" y="2768504"/>
            <a:ext cx="3527984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4406">
              <a:lnSpc>
                <a:spcPts val="1800"/>
              </a:lnSpc>
            </a:pPr>
            <a:r>
              <a:rPr lang="en-IN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wanted to have an automated Human Resource Dashboard to track, </a:t>
            </a: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analyze</a:t>
            </a:r>
            <a:r>
              <a:rPr lang="en-IN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and report on HR KPIs.</a:t>
            </a:r>
            <a:endParaRPr sz="1601" dirty="0">
              <a:latin typeface="Calibri" panose="020F0502020204030204"/>
              <a:ea typeface="+mn-ea"/>
            </a:endParaRPr>
          </a:p>
          <a:p>
            <a:pPr defTabSz="914406">
              <a:lnSpc>
                <a:spcPts val="1800"/>
              </a:lnSpc>
            </a:pPr>
            <a:endParaRPr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</a:pPr>
            <a:r>
              <a:rPr lang="en-IN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  <a:endParaRPr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565;p30">
            <a:extLst>
              <a:ext uri="{FF2B5EF4-FFF2-40B4-BE49-F238E27FC236}">
                <a16:creationId xmlns:a16="http://schemas.microsoft.com/office/drawing/2014/main" id="{3DED97C6-99D7-87EC-3609-03E131EE28F4}"/>
              </a:ext>
            </a:extLst>
          </p:cNvPr>
          <p:cNvSpPr txBox="1">
            <a:spLocks/>
          </p:cNvSpPr>
          <p:nvPr/>
        </p:nvSpPr>
        <p:spPr>
          <a:xfrm>
            <a:off x="4949545" y="2768504"/>
            <a:ext cx="3527984" cy="721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>
              <a:lnSpc>
                <a:spcPts val="1800"/>
              </a:lnSpc>
            </a:pPr>
            <a:r>
              <a:rPr lang="en-IN" sz="160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ompany decided to use</a:t>
            </a:r>
            <a:r>
              <a:rPr lang="en-IN" sz="1601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Infomineo’ Data Analytics service as a solution </a:t>
            </a:r>
            <a:r>
              <a:rPr lang="en-IN" sz="160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cover</a:t>
            </a:r>
            <a:r>
              <a:rPr lang="en-IN" sz="1601" b="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:</a:t>
            </a:r>
            <a:endParaRPr sz="1601" dirty="0">
              <a:solidFill>
                <a:srgbClr val="22222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540;p30">
            <a:extLst>
              <a:ext uri="{FF2B5EF4-FFF2-40B4-BE49-F238E27FC236}">
                <a16:creationId xmlns:a16="http://schemas.microsoft.com/office/drawing/2014/main" id="{27BA0A68-6DC4-A5AE-D93D-DDEDE497CB4B}"/>
              </a:ext>
            </a:extLst>
          </p:cNvPr>
          <p:cNvSpPr>
            <a:spLocks/>
          </p:cNvSpPr>
          <p:nvPr/>
        </p:nvSpPr>
        <p:spPr>
          <a:xfrm>
            <a:off x="8847209" y="1859084"/>
            <a:ext cx="4028843" cy="786902"/>
          </a:xfrm>
          <a:prstGeom prst="round2SameRect">
            <a:avLst/>
          </a:prstGeom>
          <a:gradFill flip="none" rotWithShape="1">
            <a:gsLst>
              <a:gs pos="16000">
                <a:srgbClr val="13349A"/>
              </a:gs>
              <a:gs pos="46000">
                <a:srgbClr val="183BA6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Google Shape;541;p30">
            <a:extLst>
              <a:ext uri="{FF2B5EF4-FFF2-40B4-BE49-F238E27FC236}">
                <a16:creationId xmlns:a16="http://schemas.microsoft.com/office/drawing/2014/main" id="{497A69E6-D1A5-6AF9-EE29-8EE6DF2963C4}"/>
              </a:ext>
            </a:extLst>
          </p:cNvPr>
          <p:cNvSpPr txBox="1"/>
          <p:nvPr/>
        </p:nvSpPr>
        <p:spPr>
          <a:xfrm>
            <a:off x="9919083" y="2095572"/>
            <a:ext cx="1885096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69" name="Google Shape;545;p30">
            <a:extLst>
              <a:ext uri="{FF2B5EF4-FFF2-40B4-BE49-F238E27FC236}">
                <a16:creationId xmlns:a16="http://schemas.microsoft.com/office/drawing/2014/main" id="{C7D9A90D-1786-4187-F2C5-3576731906F5}"/>
              </a:ext>
            </a:extLst>
          </p:cNvPr>
          <p:cNvSpPr>
            <a:spLocks/>
          </p:cNvSpPr>
          <p:nvPr/>
        </p:nvSpPr>
        <p:spPr>
          <a:xfrm>
            <a:off x="551025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13349A"/>
              </a:gs>
              <a:gs pos="46000">
                <a:srgbClr val="183BA6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Google Shape;546;p30">
            <a:extLst>
              <a:ext uri="{FF2B5EF4-FFF2-40B4-BE49-F238E27FC236}">
                <a16:creationId xmlns:a16="http://schemas.microsoft.com/office/drawing/2014/main" id="{8EC7BB4B-5745-B640-5ECF-CD5AAC1D117C}"/>
              </a:ext>
            </a:extLst>
          </p:cNvPr>
          <p:cNvSpPr txBox="1"/>
          <p:nvPr/>
        </p:nvSpPr>
        <p:spPr>
          <a:xfrm>
            <a:off x="1343228" y="2095572"/>
            <a:ext cx="2444437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FE9919F-15F4-023E-0988-74C0DB7A8D3A}"/>
              </a:ext>
            </a:extLst>
          </p:cNvPr>
          <p:cNvGrpSpPr/>
          <p:nvPr/>
        </p:nvGrpSpPr>
        <p:grpSpPr>
          <a:xfrm>
            <a:off x="3820789" y="1925517"/>
            <a:ext cx="652780" cy="654038"/>
            <a:chOff x="3416568" y="1395569"/>
            <a:chExt cx="955760" cy="957600"/>
          </a:xfrm>
        </p:grpSpPr>
        <p:sp>
          <p:nvSpPr>
            <p:cNvPr id="72" name="Google Shape;551;p30">
              <a:extLst>
                <a:ext uri="{FF2B5EF4-FFF2-40B4-BE49-F238E27FC236}">
                  <a16:creationId xmlns:a16="http://schemas.microsoft.com/office/drawing/2014/main" id="{7AC567B8-CB2C-7B6B-00F2-D43D8D9EE06E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 dirty="0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73" name="Google Shape;552;p30">
              <a:extLst>
                <a:ext uri="{FF2B5EF4-FFF2-40B4-BE49-F238E27FC236}">
                  <a16:creationId xmlns:a16="http://schemas.microsoft.com/office/drawing/2014/main" id="{E9D8B212-377A-4B1C-FE1F-44BBDA09FC1F}"/>
                </a:ext>
              </a:extLst>
            </p:cNvPr>
            <p:cNvPicPr preferRelativeResize="0"/>
            <p:nvPr/>
          </p:nvPicPr>
          <p:blipFill rotWithShape="1">
            <a:blip r:embed="rId6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4" name="Google Shape;566;p30">
            <a:extLst>
              <a:ext uri="{FF2B5EF4-FFF2-40B4-BE49-F238E27FC236}">
                <a16:creationId xmlns:a16="http://schemas.microsoft.com/office/drawing/2014/main" id="{FA21B87D-2D31-A065-F658-8E483CBC1C78}"/>
              </a:ext>
            </a:extLst>
          </p:cNvPr>
          <p:cNvSpPr>
            <a:spLocks/>
          </p:cNvSpPr>
          <p:nvPr/>
        </p:nvSpPr>
        <p:spPr>
          <a:xfrm>
            <a:off x="4699117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13349A"/>
              </a:gs>
              <a:gs pos="46000">
                <a:srgbClr val="183BA6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Google Shape;567;p30">
            <a:extLst>
              <a:ext uri="{FF2B5EF4-FFF2-40B4-BE49-F238E27FC236}">
                <a16:creationId xmlns:a16="http://schemas.microsoft.com/office/drawing/2014/main" id="{02BEBACB-D89C-DE2E-ECB3-DEBD3F1B6A68}"/>
              </a:ext>
            </a:extLst>
          </p:cNvPr>
          <p:cNvSpPr txBox="1"/>
          <p:nvPr/>
        </p:nvSpPr>
        <p:spPr>
          <a:xfrm>
            <a:off x="5743492" y="2095572"/>
            <a:ext cx="1940091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9087BB1-2562-AC83-FF1C-CB4ADD670F58}"/>
              </a:ext>
            </a:extLst>
          </p:cNvPr>
          <p:cNvGrpSpPr/>
          <p:nvPr/>
        </p:nvGrpSpPr>
        <p:grpSpPr>
          <a:xfrm>
            <a:off x="7962149" y="1925517"/>
            <a:ext cx="652780" cy="654038"/>
            <a:chOff x="7762572" y="1395569"/>
            <a:chExt cx="955760" cy="957600"/>
          </a:xfrm>
        </p:grpSpPr>
        <p:sp>
          <p:nvSpPr>
            <p:cNvPr id="76" name="Google Shape;568;p30">
              <a:extLst>
                <a:ext uri="{FF2B5EF4-FFF2-40B4-BE49-F238E27FC236}">
                  <a16:creationId xmlns:a16="http://schemas.microsoft.com/office/drawing/2014/main" id="{483098E1-C41C-B52A-2C2A-B7DEF91693DA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760" dirty="0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77" name="Google Shape;569;p30">
              <a:extLst>
                <a:ext uri="{FF2B5EF4-FFF2-40B4-BE49-F238E27FC236}">
                  <a16:creationId xmlns:a16="http://schemas.microsoft.com/office/drawing/2014/main" id="{DDBEE1B2-2558-37C2-F7C8-217F1E77F8D8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CF3BF89-D5CB-F433-CD46-1D9D5B64E278}"/>
              </a:ext>
            </a:extLst>
          </p:cNvPr>
          <p:cNvGrpSpPr/>
          <p:nvPr/>
        </p:nvGrpSpPr>
        <p:grpSpPr>
          <a:xfrm>
            <a:off x="12123143" y="1925517"/>
            <a:ext cx="652780" cy="654038"/>
            <a:chOff x="12019931" y="1366765"/>
            <a:chExt cx="955760" cy="957600"/>
          </a:xfrm>
        </p:grpSpPr>
        <p:sp>
          <p:nvSpPr>
            <p:cNvPr id="79" name="Google Shape;583;p30">
              <a:extLst>
                <a:ext uri="{FF2B5EF4-FFF2-40B4-BE49-F238E27FC236}">
                  <a16:creationId xmlns:a16="http://schemas.microsoft.com/office/drawing/2014/main" id="{48B8D64B-B2F4-F87A-15EE-E731299D19AB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 dirty="0">
                <a:solidFill>
                  <a:srgbClr val="FFFFFF"/>
                </a:solidFill>
                <a:highlight>
                  <a:srgbClr val="FFFF00"/>
                </a:highlight>
                <a:ea typeface="+mn-ea"/>
              </a:endParaRPr>
            </a:p>
          </p:txBody>
        </p:sp>
        <p:grpSp>
          <p:nvGrpSpPr>
            <p:cNvPr id="80" name="Google Shape;584;p30">
              <a:extLst>
                <a:ext uri="{FF2B5EF4-FFF2-40B4-BE49-F238E27FC236}">
                  <a16:creationId xmlns:a16="http://schemas.microsoft.com/office/drawing/2014/main" id="{EE262A71-A3A2-01C0-F4DA-72E751BCB797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81" name="Google Shape;585;p30">
                <a:extLst>
                  <a:ext uri="{FF2B5EF4-FFF2-40B4-BE49-F238E27FC236}">
                    <a16:creationId xmlns:a16="http://schemas.microsoft.com/office/drawing/2014/main" id="{4A9FC926-2B21-D840-8C6F-64FF1A5DFBA9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 dirty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586;p30">
                <a:extLst>
                  <a:ext uri="{FF2B5EF4-FFF2-40B4-BE49-F238E27FC236}">
                    <a16:creationId xmlns:a16="http://schemas.microsoft.com/office/drawing/2014/main" id="{DD05F787-065E-1133-86E6-3AF1EDEE739F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 dirty="0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21799D4-3A15-E3E8-C631-D79D8E60224E}"/>
              </a:ext>
            </a:extLst>
          </p:cNvPr>
          <p:cNvGrpSpPr/>
          <p:nvPr/>
        </p:nvGrpSpPr>
        <p:grpSpPr>
          <a:xfrm>
            <a:off x="4949545" y="5787306"/>
            <a:ext cx="3502601" cy="761497"/>
            <a:chOff x="4949498" y="5682606"/>
            <a:chExt cx="3502693" cy="761517"/>
          </a:xfrm>
        </p:grpSpPr>
        <p:sp>
          <p:nvSpPr>
            <p:cNvPr id="50" name="Google Shape;573;p30">
              <a:extLst>
                <a:ext uri="{FF2B5EF4-FFF2-40B4-BE49-F238E27FC236}">
                  <a16:creationId xmlns:a16="http://schemas.microsoft.com/office/drawing/2014/main" id="{8258115C-502F-0BBB-962A-03BFE0454D92}"/>
                </a:ext>
              </a:extLst>
            </p:cNvPr>
            <p:cNvSpPr txBox="1"/>
            <p:nvPr/>
          </p:nvSpPr>
          <p:spPr>
            <a:xfrm>
              <a:off x="5582955" y="5682606"/>
              <a:ext cx="2869236" cy="7615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/>
              <a:r>
                <a:rPr lang="en-IN" sz="1601" b="1" dirty="0">
                  <a:latin typeface="Calibri" panose="020F0502020204030204"/>
                  <a:ea typeface="Calibri"/>
                  <a:cs typeface="Calibri"/>
                  <a:sym typeface="Calibri"/>
                </a:rPr>
                <a:t>Ad-hoc deliverables: </a:t>
              </a:r>
              <a:r>
                <a:rPr lang="en-IN" sz="1601" dirty="0">
                  <a:latin typeface="Calibri" panose="020F0502020204030204"/>
                  <a:ea typeface="Calibri"/>
                  <a:cs typeface="Calibri"/>
                  <a:sym typeface="Calibri"/>
                </a:rPr>
                <a:t>Dictionaries, Creation of Metadata, Data Quality Process</a:t>
              </a:r>
              <a:endParaRPr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7204C0D3-58D2-E0D3-E238-A0CC367FFF7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5682606"/>
              <a:ext cx="548640" cy="548640"/>
              <a:chOff x="4887648" y="6069599"/>
              <a:chExt cx="503992" cy="503992"/>
            </a:xfrm>
          </p:grpSpPr>
          <p:sp>
            <p:nvSpPr>
              <p:cNvPr id="62" name="Google Shape;558;p30">
                <a:extLst>
                  <a:ext uri="{FF2B5EF4-FFF2-40B4-BE49-F238E27FC236}">
                    <a16:creationId xmlns:a16="http://schemas.microsoft.com/office/drawing/2014/main" id="{54180ABC-A787-9438-4AB6-3C4600014C42}"/>
                  </a:ext>
                </a:extLst>
              </p:cNvPr>
              <p:cNvSpPr/>
              <p:nvPr/>
            </p:nvSpPr>
            <p:spPr>
              <a:xfrm>
                <a:off x="4887648" y="6069599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/>
                <a:endParaRPr sz="180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3" name="Graphic 92">
                <a:extLst>
                  <a:ext uri="{FF2B5EF4-FFF2-40B4-BE49-F238E27FC236}">
                    <a16:creationId xmlns:a16="http://schemas.microsoft.com/office/drawing/2014/main" id="{8AEE5EC5-F600-6F3A-0573-766B005E00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035553" y="6184975"/>
                <a:ext cx="208183" cy="27324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7928818-26F9-4C07-9E98-4BD719FCA425}"/>
              </a:ext>
            </a:extLst>
          </p:cNvPr>
          <p:cNvGrpSpPr/>
          <p:nvPr/>
        </p:nvGrpSpPr>
        <p:grpSpPr>
          <a:xfrm>
            <a:off x="4949545" y="4768010"/>
            <a:ext cx="3527984" cy="556075"/>
            <a:chOff x="4949498" y="4489546"/>
            <a:chExt cx="3528076" cy="556089"/>
          </a:xfrm>
        </p:grpSpPr>
        <p:sp>
          <p:nvSpPr>
            <p:cNvPr id="58" name="Google Shape;581;p30">
              <a:extLst>
                <a:ext uri="{FF2B5EF4-FFF2-40B4-BE49-F238E27FC236}">
                  <a16:creationId xmlns:a16="http://schemas.microsoft.com/office/drawing/2014/main" id="{CA120129-9FC4-C99D-6C2E-0EF68BB29563}"/>
                </a:ext>
              </a:extLst>
            </p:cNvPr>
            <p:cNvSpPr txBox="1"/>
            <p:nvPr/>
          </p:nvSpPr>
          <p:spPr>
            <a:xfrm>
              <a:off x="5582955" y="4489546"/>
              <a:ext cx="2894619" cy="5560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/>
              <a:r>
                <a:rPr lang="en-IN" sz="1601" b="1" dirty="0">
                  <a:latin typeface="Calibri" panose="020F0502020204030204"/>
                  <a:ea typeface="Calibri"/>
                  <a:cs typeface="Calibri"/>
                  <a:sym typeface="Calibri"/>
                </a:rPr>
                <a:t>Dashboard creation </a:t>
              </a:r>
              <a:r>
                <a:rPr lang="en-IN" sz="1601" dirty="0">
                  <a:latin typeface="Calibri" panose="020F0502020204030204"/>
                  <a:ea typeface="Calibri"/>
                  <a:cs typeface="Calibri"/>
                  <a:sym typeface="Calibri"/>
                </a:rPr>
                <a:t>reflecting the HR Team’s needs</a:t>
              </a:r>
              <a:endParaRPr sz="1601" dirty="0">
                <a:latin typeface="Calibri" panose="020F0502020204030204"/>
                <a:ea typeface="+mn-ea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D5C9D8CD-08C0-6C33-0825-5A61516519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4489546"/>
              <a:ext cx="548640" cy="548640"/>
              <a:chOff x="4887648" y="5202916"/>
              <a:chExt cx="503992" cy="503992"/>
            </a:xfrm>
          </p:grpSpPr>
          <p:sp>
            <p:nvSpPr>
              <p:cNvPr id="61" name="Google Shape;557;p30">
                <a:extLst>
                  <a:ext uri="{FF2B5EF4-FFF2-40B4-BE49-F238E27FC236}">
                    <a16:creationId xmlns:a16="http://schemas.microsoft.com/office/drawing/2014/main" id="{E65C1931-357A-5C4E-2EAF-CDA16EB9A04B}"/>
                  </a:ext>
                </a:extLst>
              </p:cNvPr>
              <p:cNvSpPr/>
              <p:nvPr/>
            </p:nvSpPr>
            <p:spPr>
              <a:xfrm>
                <a:off x="4887648" y="5202916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/>
                <a:endParaRPr sz="180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C91E8C00-1FC6-FF18-A77E-5E57804EC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999772" y="5321545"/>
                <a:ext cx="279745" cy="266734"/>
              </a:xfrm>
              <a:prstGeom prst="rect">
                <a:avLst/>
              </a:prstGeom>
            </p:spPr>
          </p:pic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501DFB2-3B68-EA9E-4CBB-4C29544971F1}"/>
              </a:ext>
            </a:extLst>
          </p:cNvPr>
          <p:cNvGrpSpPr/>
          <p:nvPr/>
        </p:nvGrpSpPr>
        <p:grpSpPr>
          <a:xfrm>
            <a:off x="4949546" y="3583155"/>
            <a:ext cx="3565302" cy="721634"/>
            <a:chOff x="4949498" y="3583148"/>
            <a:chExt cx="3565395" cy="721653"/>
          </a:xfrm>
        </p:grpSpPr>
        <p:sp>
          <p:nvSpPr>
            <p:cNvPr id="51" name="Google Shape;574;p30">
              <a:extLst>
                <a:ext uri="{FF2B5EF4-FFF2-40B4-BE49-F238E27FC236}">
                  <a16:creationId xmlns:a16="http://schemas.microsoft.com/office/drawing/2014/main" id="{005CAD1D-944C-12B5-3975-9D7EEFA5C4F9}"/>
                </a:ext>
              </a:extLst>
            </p:cNvPr>
            <p:cNvSpPr txBox="1"/>
            <p:nvPr/>
          </p:nvSpPr>
          <p:spPr>
            <a:xfrm>
              <a:off x="5582954" y="3583149"/>
              <a:ext cx="2931939" cy="7216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/>
              <a:r>
                <a:rPr lang="en-IN" sz="1601" b="1" dirty="0">
                  <a:latin typeface="Calibri" panose="020F0502020204030204"/>
                  <a:ea typeface="Calibri"/>
                  <a:cs typeface="Calibri"/>
                  <a:sym typeface="Calibri"/>
                </a:rPr>
                <a:t>Data Quality &amp; Consistency problems </a:t>
              </a:r>
              <a:r>
                <a:rPr lang="en-IN" sz="1601" dirty="0">
                  <a:latin typeface="Calibri" panose="020F0502020204030204"/>
                  <a:ea typeface="Calibri"/>
                  <a:cs typeface="Calibri"/>
                  <a:sym typeface="Calibri"/>
                </a:rPr>
                <a:t>between the various Data sources </a:t>
              </a:r>
              <a:endParaRPr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5CE5F806-D9B9-A341-7D59-E4F4093677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49498" y="3583148"/>
              <a:ext cx="548640" cy="548640"/>
              <a:chOff x="4887648" y="4398723"/>
              <a:chExt cx="503992" cy="503992"/>
            </a:xfrm>
          </p:grpSpPr>
          <p:sp>
            <p:nvSpPr>
              <p:cNvPr id="60" name="Google Shape;554;p30">
                <a:extLst>
                  <a:ext uri="{FF2B5EF4-FFF2-40B4-BE49-F238E27FC236}">
                    <a16:creationId xmlns:a16="http://schemas.microsoft.com/office/drawing/2014/main" id="{F5D8EFBA-BAC2-A0B0-D5F2-9F27A0F90746}"/>
                  </a:ext>
                </a:extLst>
              </p:cNvPr>
              <p:cNvSpPr/>
              <p:nvPr/>
            </p:nvSpPr>
            <p:spPr>
              <a:xfrm>
                <a:off x="4887648" y="4398723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/>
                <a:endParaRPr sz="180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C186A730-E4A6-3D02-20D9-23701BFAC4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999772" y="4536870"/>
                <a:ext cx="279745" cy="227699"/>
              </a:xfrm>
              <a:prstGeom prst="rect">
                <a:avLst/>
              </a:prstGeom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0A3FAE-A731-5EB4-AD10-EF5D09714566}"/>
              </a:ext>
            </a:extLst>
          </p:cNvPr>
          <p:cNvGrpSpPr/>
          <p:nvPr/>
        </p:nvGrpSpPr>
        <p:grpSpPr>
          <a:xfrm>
            <a:off x="803880" y="5025975"/>
            <a:ext cx="3414447" cy="548625"/>
            <a:chOff x="803725" y="4868493"/>
            <a:chExt cx="3414536" cy="548640"/>
          </a:xfrm>
        </p:grpSpPr>
        <p:sp>
          <p:nvSpPr>
            <p:cNvPr id="45" name="Google Shape;562;p30">
              <a:extLst>
                <a:ext uri="{FF2B5EF4-FFF2-40B4-BE49-F238E27FC236}">
                  <a16:creationId xmlns:a16="http://schemas.microsoft.com/office/drawing/2014/main" id="{F17C599E-94BF-773D-C245-38BF2B699897}"/>
                </a:ext>
              </a:extLst>
            </p:cNvPr>
            <p:cNvSpPr txBox="1"/>
            <p:nvPr/>
          </p:nvSpPr>
          <p:spPr>
            <a:xfrm>
              <a:off x="1437182" y="4868493"/>
              <a:ext cx="2781079" cy="4803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/>
              <a:r>
                <a:rPr lang="en-IN" sz="1601" b="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Smooth integration </a:t>
              </a:r>
              <a:r>
                <a:rPr lang="en-IN" sz="160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with its existing ERPs </a:t>
              </a:r>
              <a:endParaRPr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  <a:p>
              <a:pPr defTabSz="914406"/>
              <a:endParaRPr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18960702-537C-1A5E-1878-F36F610892A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725" y="4868493"/>
              <a:ext cx="548640" cy="548640"/>
              <a:chOff x="698421" y="5202916"/>
              <a:chExt cx="503992" cy="503992"/>
            </a:xfrm>
          </p:grpSpPr>
          <p:sp>
            <p:nvSpPr>
              <p:cNvPr id="40" name="Google Shape;557;p30">
                <a:extLst>
                  <a:ext uri="{FF2B5EF4-FFF2-40B4-BE49-F238E27FC236}">
                    <a16:creationId xmlns:a16="http://schemas.microsoft.com/office/drawing/2014/main" id="{08C8BDB2-E3E5-53B9-2202-C21D6B180F4C}"/>
                  </a:ext>
                </a:extLst>
              </p:cNvPr>
              <p:cNvSpPr/>
              <p:nvPr/>
            </p:nvSpPr>
            <p:spPr>
              <a:xfrm>
                <a:off x="698421" y="5202916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/>
                <a:endParaRPr sz="180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2B846CB2-3518-09A6-9C50-1F21631253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65005" y="5311787"/>
                <a:ext cx="370825" cy="286251"/>
              </a:xfrm>
              <a:prstGeom prst="rect">
                <a:avLst/>
              </a:prstGeom>
            </p:spPr>
          </p:pic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A4C949B-7D34-E301-FC07-64DF823C7192}"/>
              </a:ext>
            </a:extLst>
          </p:cNvPr>
          <p:cNvGrpSpPr/>
          <p:nvPr/>
        </p:nvGrpSpPr>
        <p:grpSpPr>
          <a:xfrm>
            <a:off x="803880" y="6000179"/>
            <a:ext cx="3481593" cy="548625"/>
            <a:chOff x="803725" y="5774197"/>
            <a:chExt cx="3481684" cy="548640"/>
          </a:xfrm>
        </p:grpSpPr>
        <p:sp>
          <p:nvSpPr>
            <p:cNvPr id="43" name="Google Shape;560;p30">
              <a:extLst>
                <a:ext uri="{FF2B5EF4-FFF2-40B4-BE49-F238E27FC236}">
                  <a16:creationId xmlns:a16="http://schemas.microsoft.com/office/drawing/2014/main" id="{F6AB3F0C-0A45-7CB8-2CC6-79CA465D629A}"/>
                </a:ext>
              </a:extLst>
            </p:cNvPr>
            <p:cNvSpPr txBox="1"/>
            <p:nvPr/>
          </p:nvSpPr>
          <p:spPr>
            <a:xfrm>
              <a:off x="1437182" y="5774197"/>
              <a:ext cx="2848227" cy="492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/>
              <a:r>
                <a:rPr lang="en-IN" sz="1601" b="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Lower cost </a:t>
              </a:r>
              <a:r>
                <a:rPr lang="en-IN" sz="160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than subscribing to a dedicated HR Dashboard tool</a:t>
              </a:r>
              <a:endParaRPr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3194FCBF-429F-AB76-68B1-38ED9C61B9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725" y="5774197"/>
              <a:ext cx="548640" cy="548640"/>
              <a:chOff x="698421" y="6069599"/>
              <a:chExt cx="503992" cy="503992"/>
            </a:xfrm>
          </p:grpSpPr>
          <p:sp>
            <p:nvSpPr>
              <p:cNvPr id="41" name="Google Shape;558;p30">
                <a:extLst>
                  <a:ext uri="{FF2B5EF4-FFF2-40B4-BE49-F238E27FC236}">
                    <a16:creationId xmlns:a16="http://schemas.microsoft.com/office/drawing/2014/main" id="{A3A4C06D-64B3-1800-FAEE-591C217639B0}"/>
                  </a:ext>
                </a:extLst>
              </p:cNvPr>
              <p:cNvSpPr/>
              <p:nvPr/>
            </p:nvSpPr>
            <p:spPr>
              <a:xfrm>
                <a:off x="698421" y="6069599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/>
                <a:endParaRPr sz="1800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101" name="Graphic 100">
                <a:extLst>
                  <a:ext uri="{FF2B5EF4-FFF2-40B4-BE49-F238E27FC236}">
                    <a16:creationId xmlns:a16="http://schemas.microsoft.com/office/drawing/2014/main" id="{861713B8-2C91-3566-DB36-D664C6164E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17050" y="6188228"/>
                <a:ext cx="266734" cy="266734"/>
              </a:xfrm>
              <a:prstGeom prst="rect">
                <a:avLst/>
              </a:prstGeom>
            </p:spPr>
          </p:pic>
        </p:grpSp>
      </p:grpSp>
      <p:sp>
        <p:nvSpPr>
          <p:cNvPr id="44" name="Google Shape;561;p30">
            <a:extLst>
              <a:ext uri="{FF2B5EF4-FFF2-40B4-BE49-F238E27FC236}">
                <a16:creationId xmlns:a16="http://schemas.microsoft.com/office/drawing/2014/main" id="{EE28414E-DAF0-116D-6048-D41825AC3162}"/>
              </a:ext>
            </a:extLst>
          </p:cNvPr>
          <p:cNvSpPr txBox="1"/>
          <p:nvPr/>
        </p:nvSpPr>
        <p:spPr>
          <a:xfrm>
            <a:off x="1437323" y="4194269"/>
            <a:ext cx="2487308" cy="324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/>
            <a:r>
              <a:rPr lang="en-IN" sz="1601" b="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ffective and quick </a:t>
            </a:r>
            <a:r>
              <a:rPr lang="en-IN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olution</a:t>
            </a:r>
            <a:endParaRPr sz="1601" dirty="0"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EE21ADA-325A-94C8-296D-3EF276C1764A}"/>
              </a:ext>
            </a:extLst>
          </p:cNvPr>
          <p:cNvGrpSpPr>
            <a:grpSpLocks noChangeAspect="1"/>
          </p:cNvGrpSpPr>
          <p:nvPr/>
        </p:nvGrpSpPr>
        <p:grpSpPr>
          <a:xfrm>
            <a:off x="803881" y="4051771"/>
            <a:ext cx="548625" cy="548625"/>
            <a:chOff x="698421" y="4398723"/>
            <a:chExt cx="503992" cy="503992"/>
          </a:xfrm>
        </p:grpSpPr>
        <p:sp>
          <p:nvSpPr>
            <p:cNvPr id="37" name="Google Shape;554;p30">
              <a:extLst>
                <a:ext uri="{FF2B5EF4-FFF2-40B4-BE49-F238E27FC236}">
                  <a16:creationId xmlns:a16="http://schemas.microsoft.com/office/drawing/2014/main" id="{FCBFFA69-84A9-CECE-97E3-28F72178A9EA}"/>
                </a:ext>
              </a:extLst>
            </p:cNvPr>
            <p:cNvSpPr/>
            <p:nvPr/>
          </p:nvSpPr>
          <p:spPr>
            <a:xfrm>
              <a:off x="698421" y="4398723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60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5DA3718F-BE7E-2FEA-0CEB-B4ECCB9EC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81269" y="4530364"/>
              <a:ext cx="338296" cy="240711"/>
            </a:xfrm>
            <a:prstGeom prst="rect">
              <a:avLst/>
            </a:prstGeom>
          </p:spPr>
        </p:pic>
      </p:grpSp>
      <p:pic>
        <p:nvPicPr>
          <p:cNvPr id="116" name="Google Shape;547;p30">
            <a:extLst>
              <a:ext uri="{FF2B5EF4-FFF2-40B4-BE49-F238E27FC236}">
                <a16:creationId xmlns:a16="http://schemas.microsoft.com/office/drawing/2014/main" id="{71BF1012-F562-90B3-126D-8CB47F3AFEF8}"/>
              </a:ext>
            </a:extLst>
          </p:cNvPr>
          <p:cNvPicPr preferRelativeResize="0"/>
          <p:nvPr/>
        </p:nvPicPr>
        <p:blipFill rotWithShape="1">
          <a:blip r:embed="rId20" cstate="print">
            <a:alphaModFix/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26904" y="677992"/>
            <a:ext cx="949148" cy="85711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E057D48-6CA1-C67D-FD7D-651F4C6279F7}"/>
              </a:ext>
            </a:extLst>
          </p:cNvPr>
          <p:cNvCxnSpPr/>
          <p:nvPr/>
        </p:nvCxnSpPr>
        <p:spPr>
          <a:xfrm>
            <a:off x="765287" y="4813184"/>
            <a:ext cx="36003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99A381-243E-3200-0522-B589542C5E01}"/>
              </a:ext>
            </a:extLst>
          </p:cNvPr>
          <p:cNvCxnSpPr/>
          <p:nvPr/>
        </p:nvCxnSpPr>
        <p:spPr>
          <a:xfrm>
            <a:off x="765287" y="5787389"/>
            <a:ext cx="36003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9276BC4-0214-704E-B96D-6B334494BC01}"/>
              </a:ext>
            </a:extLst>
          </p:cNvPr>
          <p:cNvCxnSpPr/>
          <p:nvPr/>
        </p:nvCxnSpPr>
        <p:spPr>
          <a:xfrm>
            <a:off x="4913378" y="5555695"/>
            <a:ext cx="36003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C3D0721-1BE2-9BD0-9FCA-E2769BDC7A9E}"/>
              </a:ext>
            </a:extLst>
          </p:cNvPr>
          <p:cNvCxnSpPr/>
          <p:nvPr/>
        </p:nvCxnSpPr>
        <p:spPr>
          <a:xfrm>
            <a:off x="4913378" y="4536399"/>
            <a:ext cx="36003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5033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D72BD3-27D1-23DF-4D1B-D34189B216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0795069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D72BD3-27D1-23DF-4D1B-D34189B21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57C5740-D9F2-529E-E633-838C218E6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366447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A Comprehensive Dashboard of HR Key Metrics and Performance Indicators</a:t>
            </a:r>
          </a:p>
        </p:txBody>
      </p:sp>
      <p:sp>
        <p:nvSpPr>
          <p:cNvPr id="6" name="Google Shape;831;p25">
            <a:extLst>
              <a:ext uri="{FF2B5EF4-FFF2-40B4-BE49-F238E27FC236}">
                <a16:creationId xmlns:a16="http://schemas.microsoft.com/office/drawing/2014/main" id="{DF51A008-F12C-0677-55B5-051BFF4D4919}"/>
              </a:ext>
            </a:extLst>
          </p:cNvPr>
          <p:cNvSpPr>
            <a:spLocks/>
          </p:cNvSpPr>
          <p:nvPr/>
        </p:nvSpPr>
        <p:spPr>
          <a:xfrm>
            <a:off x="551025" y="2311315"/>
            <a:ext cx="5400533" cy="4672014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dirty="0">
              <a:ea typeface="+mn-ea"/>
            </a:endParaRPr>
          </a:p>
        </p:txBody>
      </p:sp>
      <p:sp>
        <p:nvSpPr>
          <p:cNvPr id="7" name="Google Shape;543;p30">
            <a:extLst>
              <a:ext uri="{FF2B5EF4-FFF2-40B4-BE49-F238E27FC236}">
                <a16:creationId xmlns:a16="http://schemas.microsoft.com/office/drawing/2014/main" id="{1AA03FB6-81D1-3F60-5047-0AAA00E63192}"/>
              </a:ext>
            </a:extLst>
          </p:cNvPr>
          <p:cNvSpPr txBox="1">
            <a:spLocks/>
          </p:cNvSpPr>
          <p:nvPr/>
        </p:nvSpPr>
        <p:spPr>
          <a:xfrm>
            <a:off x="810909" y="2777005"/>
            <a:ext cx="4875052" cy="4072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Elaborated Data Model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: Gathering and transforming data from </a:t>
            </a: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5 different tools</a:t>
            </a: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endParaRPr lang="en-US" sz="1764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Automated Source Reports: 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Created </a:t>
            </a: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14 source reports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 and automated their extractions using APIs, ensuring efficient and timely data retrieval.</a:t>
            </a: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endParaRPr lang="en-US" sz="1764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Automated Data Quality Checks: 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Implemented automated data quality checks based on predefined business rules, ensuring data integrity and accuracy.</a:t>
            </a: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endParaRPr lang="en-US" sz="1764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buClr>
                <a:schemeClr val="accent1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Extensive Dashboards: 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Delivered a comprehensive report comprising </a:t>
            </a: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30 dashboards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, featuring </a:t>
            </a: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+150 graphs</a:t>
            </a:r>
            <a:r>
              <a:rPr lang="en-US" sz="1764" dirty="0">
                <a:latin typeface="Calibri" panose="020F0502020204030204"/>
                <a:ea typeface="Calibri"/>
                <a:cs typeface="Calibri"/>
                <a:sym typeface="Calibri"/>
              </a:rPr>
              <a:t>, and including</a:t>
            </a:r>
            <a:r>
              <a:rPr lang="en-US" sz="1764" b="1" dirty="0">
                <a:latin typeface="Calibri" panose="020F0502020204030204"/>
                <a:ea typeface="Calibri"/>
                <a:cs typeface="Calibri"/>
                <a:sym typeface="Calibri"/>
              </a:rPr>
              <a:t> +50 KPIs.</a:t>
            </a:r>
            <a:endParaRPr lang="en-US" sz="1764" dirty="0">
              <a:latin typeface="Calibri" panose="020F0502020204030204"/>
              <a:ea typeface="+mn-ea"/>
            </a:endParaRPr>
          </a:p>
        </p:txBody>
      </p:sp>
      <p:sp>
        <p:nvSpPr>
          <p:cNvPr id="8" name="Google Shape;545;p30">
            <a:extLst>
              <a:ext uri="{FF2B5EF4-FFF2-40B4-BE49-F238E27FC236}">
                <a16:creationId xmlns:a16="http://schemas.microsoft.com/office/drawing/2014/main" id="{DA30D5BD-3BC1-D6C1-5FDA-0096CD1AB3FB}"/>
              </a:ext>
            </a:extLst>
          </p:cNvPr>
          <p:cNvSpPr>
            <a:spLocks/>
          </p:cNvSpPr>
          <p:nvPr/>
        </p:nvSpPr>
        <p:spPr>
          <a:xfrm>
            <a:off x="551025" y="1857425"/>
            <a:ext cx="540053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Google Shape;546;p30">
            <a:extLst>
              <a:ext uri="{FF2B5EF4-FFF2-40B4-BE49-F238E27FC236}">
                <a16:creationId xmlns:a16="http://schemas.microsoft.com/office/drawing/2014/main" id="{CDCBBF56-C6F3-B3F6-8FA8-F22C59E01E2A}"/>
              </a:ext>
            </a:extLst>
          </p:cNvPr>
          <p:cNvSpPr txBox="1"/>
          <p:nvPr/>
        </p:nvSpPr>
        <p:spPr>
          <a:xfrm>
            <a:off x="2029073" y="2095572"/>
            <a:ext cx="2444437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Achievement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D503B8E-8315-CE23-B611-C247BE394B5A}"/>
              </a:ext>
            </a:extLst>
          </p:cNvPr>
          <p:cNvGrpSpPr/>
          <p:nvPr/>
        </p:nvGrpSpPr>
        <p:grpSpPr>
          <a:xfrm>
            <a:off x="5204387" y="1925517"/>
            <a:ext cx="652780" cy="654038"/>
            <a:chOff x="3820712" y="1925467"/>
            <a:chExt cx="652797" cy="654055"/>
          </a:xfrm>
        </p:grpSpPr>
        <p:sp>
          <p:nvSpPr>
            <p:cNvPr id="11" name="Google Shape;551;p30">
              <a:extLst>
                <a:ext uri="{FF2B5EF4-FFF2-40B4-BE49-F238E27FC236}">
                  <a16:creationId xmlns:a16="http://schemas.microsoft.com/office/drawing/2014/main" id="{799A6D36-71AC-C5FB-0425-360F77A7AE38}"/>
                </a:ext>
              </a:extLst>
            </p:cNvPr>
            <p:cNvSpPr/>
            <p:nvPr/>
          </p:nvSpPr>
          <p:spPr>
            <a:xfrm>
              <a:off x="3820712" y="1925467"/>
              <a:ext cx="652797" cy="654055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 dirty="0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8ED4122A-104A-016B-544D-64B62B6C7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51848" y="2076282"/>
              <a:ext cx="390525" cy="352425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B4FCECD-D037-7681-DD29-5371513E7900}"/>
              </a:ext>
            </a:extLst>
          </p:cNvPr>
          <p:cNvGrpSpPr/>
          <p:nvPr/>
        </p:nvGrpSpPr>
        <p:grpSpPr>
          <a:xfrm>
            <a:off x="8480367" y="2229980"/>
            <a:ext cx="4372505" cy="3352211"/>
            <a:chOff x="4662343" y="2693866"/>
            <a:chExt cx="4610513" cy="353468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1CA48A9-DC65-7829-9D17-DB9E5B18D641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406"/>
              <a:endParaRPr lang="en-US" dirty="0">
                <a:ea typeface="+mn-ea"/>
              </a:endParaRPr>
            </a:p>
          </p:txBody>
        </p:sp>
        <p:grpSp>
          <p:nvGrpSpPr>
            <p:cNvPr id="21" name="Graphic 2">
              <a:extLst>
                <a:ext uri="{FF2B5EF4-FFF2-40B4-BE49-F238E27FC236}">
                  <a16:creationId xmlns:a16="http://schemas.microsoft.com/office/drawing/2014/main" id="{E1C038F1-C6E7-341F-8B96-D47DAD7793CA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1829ACB-BFA9-4ACE-C5AA-0ADCAE7222C0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05991557-FFE7-D700-AB52-3C082FDB2596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ED0FA5-63ED-7FEB-7F27-0958ADBFD999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406"/>
              <a:endParaRPr lang="en-US" dirty="0">
                <a:ea typeface="+mn-ea"/>
              </a:endParaRPr>
            </a:p>
          </p:txBody>
        </p:sp>
      </p:grpSp>
      <p:cxnSp>
        <p:nvCxnSpPr>
          <p:cNvPr id="26" name="Google Shape;526;p13">
            <a:extLst>
              <a:ext uri="{FF2B5EF4-FFF2-40B4-BE49-F238E27FC236}">
                <a16:creationId xmlns:a16="http://schemas.microsoft.com/office/drawing/2014/main" id="{EF41C1B3-E7C7-47BF-51B4-FAA904E66D34}"/>
              </a:ext>
            </a:extLst>
          </p:cNvPr>
          <p:cNvCxnSpPr>
            <a:cxnSpLocks/>
          </p:cNvCxnSpPr>
          <p:nvPr/>
        </p:nvCxnSpPr>
        <p:spPr>
          <a:xfrm>
            <a:off x="6240476" y="1857426"/>
            <a:ext cx="0" cy="5125904"/>
          </a:xfrm>
          <a:prstGeom prst="straightConnector1">
            <a:avLst/>
          </a:prstGeom>
          <a:noFill/>
          <a:ln w="1905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C83297E-0D61-BE01-6BA4-80EBA2846B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29140" y="2374798"/>
            <a:ext cx="4074959" cy="235280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39D089C-2031-8B3E-B73B-E50E8C9FAE88}"/>
              </a:ext>
            </a:extLst>
          </p:cNvPr>
          <p:cNvGrpSpPr/>
          <p:nvPr/>
        </p:nvGrpSpPr>
        <p:grpSpPr>
          <a:xfrm>
            <a:off x="6747447" y="4602043"/>
            <a:ext cx="4080661" cy="2460482"/>
            <a:chOff x="1329003" y="3864105"/>
            <a:chExt cx="4080768" cy="2460547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11E184B-2CA7-C252-B889-3355CA794405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gradFill>
              <a:gsLst>
                <a:gs pos="0">
                  <a:srgbClr val="E6E6E6"/>
                </a:gs>
                <a:gs pos="36000">
                  <a:srgbClr val="4D4D4D"/>
                </a:gs>
                <a:gs pos="56000">
                  <a:srgbClr val="CCCCCC"/>
                </a:gs>
                <a:gs pos="76000">
                  <a:srgbClr val="575757"/>
                </a:gs>
                <a:gs pos="100000">
                  <a:srgbClr val="919191"/>
                </a:gs>
              </a:gsLst>
              <a:lin ang="0" scaled="1"/>
            </a:gra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406"/>
              <a:endParaRPr lang="en-US" dirty="0">
                <a:ea typeface="+mn-ea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E20A7A5-7BE5-F3F1-340E-A38B1000EB9C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406"/>
              <a:endParaRPr lang="en-US" dirty="0">
                <a:ea typeface="+mn-ea"/>
              </a:endParaRPr>
            </a:p>
          </p:txBody>
        </p:sp>
        <p:grpSp>
          <p:nvGrpSpPr>
            <p:cNvPr id="34" name="Graphic 2">
              <a:extLst>
                <a:ext uri="{FF2B5EF4-FFF2-40B4-BE49-F238E27FC236}">
                  <a16:creationId xmlns:a16="http://schemas.microsoft.com/office/drawing/2014/main" id="{41DD724B-9678-85C8-9189-DB7C7C91B8E9}"/>
                </a:ext>
              </a:extLst>
            </p:cNvPr>
            <p:cNvGrpSpPr/>
            <p:nvPr/>
          </p:nvGrpSpPr>
          <p:grpSpPr>
            <a:xfrm>
              <a:off x="1655461" y="3940304"/>
              <a:ext cx="3426565" cy="2251885"/>
              <a:chOff x="1655461" y="3940304"/>
              <a:chExt cx="3426565" cy="2251885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49BC0CFC-40F6-7539-A7EE-0BD3A5188422}"/>
                  </a:ext>
                </a:extLst>
              </p:cNvPr>
              <p:cNvSpPr/>
              <p:nvPr/>
            </p:nvSpPr>
            <p:spPr>
              <a:xfrm>
                <a:off x="1678740" y="3940304"/>
                <a:ext cx="3403286" cy="2228359"/>
              </a:xfrm>
              <a:custGeom>
                <a:avLst/>
                <a:gdLst>
                  <a:gd name="connsiteX0" fmla="*/ 3403286 w 3403286"/>
                  <a:gd name="connsiteY0" fmla="*/ 112749 h 2228359"/>
                  <a:gd name="connsiteX1" fmla="*/ 3290565 w 3403286"/>
                  <a:gd name="connsiteY1" fmla="*/ 0 h 2228359"/>
                  <a:gd name="connsiteX2" fmla="*/ 97723 w 3403286"/>
                  <a:gd name="connsiteY2" fmla="*/ 0 h 2228359"/>
                  <a:gd name="connsiteX3" fmla="*/ 0 w 3403286"/>
                  <a:gd name="connsiteY3" fmla="*/ 56567 h 2228359"/>
                  <a:gd name="connsiteX4" fmla="*/ 89497 w 3403286"/>
                  <a:gd name="connsiteY4" fmla="*/ 12366 h 2228359"/>
                  <a:gd name="connsiteX5" fmla="*/ 3282284 w 3403286"/>
                  <a:gd name="connsiteY5" fmla="*/ 12366 h 2228359"/>
                  <a:gd name="connsiteX6" fmla="*/ 3395033 w 3403286"/>
                  <a:gd name="connsiteY6" fmla="*/ 125115 h 2228359"/>
                  <a:gd name="connsiteX7" fmla="*/ 3395033 w 3403286"/>
                  <a:gd name="connsiteY7" fmla="*/ 2198774 h 2228359"/>
                  <a:gd name="connsiteX8" fmla="*/ 3384312 w 3403286"/>
                  <a:gd name="connsiteY8" fmla="*/ 2228359 h 2228359"/>
                  <a:gd name="connsiteX9" fmla="*/ 3403259 w 3403286"/>
                  <a:gd name="connsiteY9" fmla="*/ 2186407 h 2228359"/>
                  <a:gd name="connsiteX10" fmla="*/ 3403259 w 3403286"/>
                  <a:gd name="connsiteY10" fmla="*/ 112749 h 222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3286" h="2228359">
                    <a:moveTo>
                      <a:pt x="3403286" y="112749"/>
                    </a:moveTo>
                    <a:cubicBezTo>
                      <a:pt x="3403286" y="50479"/>
                      <a:pt x="3352807" y="0"/>
                      <a:pt x="3290565" y="0"/>
                    </a:cubicBezTo>
                    <a:lnTo>
                      <a:pt x="97723" y="0"/>
                    </a:lnTo>
                    <a:cubicBezTo>
                      <a:pt x="55908" y="0"/>
                      <a:pt x="19468" y="22786"/>
                      <a:pt x="0" y="56567"/>
                    </a:cubicBezTo>
                    <a:cubicBezTo>
                      <a:pt x="20620" y="29695"/>
                      <a:pt x="53029" y="12366"/>
                      <a:pt x="89497" y="12366"/>
                    </a:cubicBezTo>
                    <a:lnTo>
                      <a:pt x="3282284" y="12366"/>
                    </a:lnTo>
                    <a:cubicBezTo>
                      <a:pt x="3344554" y="12366"/>
                      <a:pt x="3395033" y="62846"/>
                      <a:pt x="3395033" y="125115"/>
                    </a:cubicBezTo>
                    <a:lnTo>
                      <a:pt x="3395033" y="2198774"/>
                    </a:lnTo>
                    <a:cubicBezTo>
                      <a:pt x="3395033" y="2219256"/>
                      <a:pt x="3393854" y="2211825"/>
                      <a:pt x="3384312" y="2228359"/>
                    </a:cubicBezTo>
                    <a:cubicBezTo>
                      <a:pt x="3398872" y="2209357"/>
                      <a:pt x="3403259" y="2212182"/>
                      <a:pt x="3403259" y="2186407"/>
                    </a:cubicBezTo>
                    <a:lnTo>
                      <a:pt x="3403259" y="112749"/>
                    </a:lnTo>
                    <a:close/>
                  </a:path>
                </a:pathLst>
              </a:custGeom>
              <a:gradFill>
                <a:gsLst>
                  <a:gs pos="0">
                    <a:srgbClr val="919191"/>
                  </a:gs>
                  <a:gs pos="17000">
                    <a:srgbClr val="979797"/>
                  </a:gs>
                  <a:gs pos="40000">
                    <a:srgbClr val="A9A9A9"/>
                  </a:gs>
                  <a:gs pos="67000">
                    <a:srgbClr val="C7C7C7"/>
                  </a:gs>
                  <a:gs pos="97000">
                    <a:srgbClr val="EFEFEF"/>
                  </a:gs>
                  <a:gs pos="100000">
                    <a:srgbClr val="F5F5F5"/>
                  </a:gs>
                </a:gsLst>
                <a:lin ang="14099989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3A7EFFAD-ECA3-7C53-1CA6-E7E155D600E1}"/>
                  </a:ext>
                </a:extLst>
              </p:cNvPr>
              <p:cNvSpPr/>
              <p:nvPr/>
            </p:nvSpPr>
            <p:spPr>
              <a:xfrm>
                <a:off x="1655461" y="3996871"/>
                <a:ext cx="3415487" cy="2195318"/>
              </a:xfrm>
              <a:custGeom>
                <a:avLst/>
                <a:gdLst>
                  <a:gd name="connsiteX0" fmla="*/ 3313816 w 3415487"/>
                  <a:gd name="connsiteY0" fmla="*/ 2182404 h 2195318"/>
                  <a:gd name="connsiteX1" fmla="*/ 121002 w 3415487"/>
                  <a:gd name="connsiteY1" fmla="*/ 2182404 h 2195318"/>
                  <a:gd name="connsiteX2" fmla="*/ 8253 w 3415487"/>
                  <a:gd name="connsiteY2" fmla="*/ 2129841 h 2195318"/>
                  <a:gd name="connsiteX3" fmla="*/ 8253 w 3415487"/>
                  <a:gd name="connsiteY3" fmla="*/ 56183 h 2195318"/>
                  <a:gd name="connsiteX4" fmla="*/ 23252 w 3415487"/>
                  <a:gd name="connsiteY4" fmla="*/ 0 h 2195318"/>
                  <a:gd name="connsiteX5" fmla="*/ 0 w 3415487"/>
                  <a:gd name="connsiteY5" fmla="*/ 68549 h 2195318"/>
                  <a:gd name="connsiteX6" fmla="*/ 0 w 3415487"/>
                  <a:gd name="connsiteY6" fmla="*/ 2142207 h 2195318"/>
                  <a:gd name="connsiteX7" fmla="*/ 112749 w 3415487"/>
                  <a:gd name="connsiteY7" fmla="*/ 2194770 h 2195318"/>
                  <a:gd name="connsiteX8" fmla="*/ 3305536 w 3415487"/>
                  <a:gd name="connsiteY8" fmla="*/ 2194770 h 2195318"/>
                  <a:gd name="connsiteX9" fmla="*/ 3415488 w 3415487"/>
                  <a:gd name="connsiteY9" fmla="*/ 2151502 h 2195318"/>
                  <a:gd name="connsiteX10" fmla="*/ 3313789 w 3415487"/>
                  <a:gd name="connsiteY10" fmla="*/ 2182432 h 219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15487" h="2195318">
                    <a:moveTo>
                      <a:pt x="3313816" y="2182404"/>
                    </a:moveTo>
                    <a:lnTo>
                      <a:pt x="121002" y="2182404"/>
                    </a:lnTo>
                    <a:cubicBezTo>
                      <a:pt x="58733" y="2182404"/>
                      <a:pt x="8253" y="2192111"/>
                      <a:pt x="8253" y="2129841"/>
                    </a:cubicBezTo>
                    <a:lnTo>
                      <a:pt x="8253" y="56183"/>
                    </a:lnTo>
                    <a:cubicBezTo>
                      <a:pt x="8253" y="35728"/>
                      <a:pt x="13737" y="16534"/>
                      <a:pt x="23252" y="0"/>
                    </a:cubicBezTo>
                    <a:cubicBezTo>
                      <a:pt x="8665" y="19002"/>
                      <a:pt x="0" y="42747"/>
                      <a:pt x="0" y="68549"/>
                    </a:cubicBezTo>
                    <a:lnTo>
                      <a:pt x="0" y="2142207"/>
                    </a:lnTo>
                    <a:cubicBezTo>
                      <a:pt x="0" y="2204477"/>
                      <a:pt x="50479" y="2194770"/>
                      <a:pt x="112749" y="2194770"/>
                    </a:cubicBezTo>
                    <a:lnTo>
                      <a:pt x="3305536" y="2194770"/>
                    </a:lnTo>
                    <a:cubicBezTo>
                      <a:pt x="3347350" y="2194770"/>
                      <a:pt x="3396020" y="2185283"/>
                      <a:pt x="3415488" y="2151502"/>
                    </a:cubicBezTo>
                    <a:cubicBezTo>
                      <a:pt x="3394869" y="2178346"/>
                      <a:pt x="3350230" y="2182432"/>
                      <a:pt x="3313789" y="2182432"/>
                    </a:cubicBezTo>
                    <a:close/>
                  </a:path>
                </a:pathLst>
              </a:custGeom>
              <a:gradFill>
                <a:gsLst>
                  <a:gs pos="0">
                    <a:srgbClr val="E6E6E6"/>
                  </a:gs>
                  <a:gs pos="36000">
                    <a:srgbClr val="4D4D4D"/>
                  </a:gs>
                  <a:gs pos="56000">
                    <a:srgbClr val="CCCCCC"/>
                  </a:gs>
                  <a:gs pos="100000">
                    <a:srgbClr val="919191"/>
                  </a:gs>
                </a:gsLst>
                <a:lin ang="1409999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</p:grpSp>
        <p:grpSp>
          <p:nvGrpSpPr>
            <p:cNvPr id="35" name="Graphic 2">
              <a:extLst>
                <a:ext uri="{FF2B5EF4-FFF2-40B4-BE49-F238E27FC236}">
                  <a16:creationId xmlns:a16="http://schemas.microsoft.com/office/drawing/2014/main" id="{9DA31C6B-87CD-E777-EAB4-8EC1B6E7D60C}"/>
                </a:ext>
              </a:extLst>
            </p:cNvPr>
            <p:cNvGrpSpPr/>
            <p:nvPr/>
          </p:nvGrpSpPr>
          <p:grpSpPr>
            <a:xfrm>
              <a:off x="1672735" y="3864105"/>
              <a:ext cx="3496677" cy="2460547"/>
              <a:chOff x="1672735" y="3864105"/>
              <a:chExt cx="3496677" cy="2460547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AC99F5F-8725-EA24-43A2-D5E3E01358F1}"/>
                  </a:ext>
                </a:extLst>
              </p:cNvPr>
              <p:cNvSpPr/>
              <p:nvPr/>
            </p:nvSpPr>
            <p:spPr>
              <a:xfrm>
                <a:off x="1672735" y="3961801"/>
                <a:ext cx="3393278" cy="2216967"/>
              </a:xfrm>
              <a:custGeom>
                <a:avLst/>
                <a:gdLst>
                  <a:gd name="connsiteX0" fmla="*/ 90759 w 3393278"/>
                  <a:gd name="connsiteY0" fmla="*/ 2207767 h 2216967"/>
                  <a:gd name="connsiteX1" fmla="*/ 0 w 3393278"/>
                  <a:gd name="connsiteY1" fmla="*/ 2177195 h 2216967"/>
                  <a:gd name="connsiteX2" fmla="*/ 0 w 3393278"/>
                  <a:gd name="connsiteY2" fmla="*/ 90759 h 2216967"/>
                  <a:gd name="connsiteX3" fmla="*/ 90759 w 3393278"/>
                  <a:gd name="connsiteY3" fmla="*/ 0 h 2216967"/>
                  <a:gd name="connsiteX4" fmla="*/ 3302520 w 3393278"/>
                  <a:gd name="connsiteY4" fmla="*/ 0 h 2216967"/>
                  <a:gd name="connsiteX5" fmla="*/ 3393278 w 3393278"/>
                  <a:gd name="connsiteY5" fmla="*/ 90759 h 2216967"/>
                  <a:gd name="connsiteX6" fmla="*/ 3393278 w 3393278"/>
                  <a:gd name="connsiteY6" fmla="*/ 2177195 h 2216967"/>
                  <a:gd name="connsiteX7" fmla="*/ 3302931 w 3393278"/>
                  <a:gd name="connsiteY7" fmla="*/ 2215856 h 2216967"/>
                  <a:gd name="connsiteX8" fmla="*/ 90786 w 3393278"/>
                  <a:gd name="connsiteY8" fmla="*/ 2207794 h 2216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93278" h="2216967">
                    <a:moveTo>
                      <a:pt x="90759" y="2207767"/>
                    </a:moveTo>
                    <a:cubicBezTo>
                      <a:pt x="40718" y="2207767"/>
                      <a:pt x="0" y="2227235"/>
                      <a:pt x="0" y="2177195"/>
                    </a:cubicBezTo>
                    <a:lnTo>
                      <a:pt x="0" y="90759"/>
                    </a:lnTo>
                    <a:cubicBezTo>
                      <a:pt x="0" y="40718"/>
                      <a:pt x="40718" y="0"/>
                      <a:pt x="90759" y="0"/>
                    </a:cubicBezTo>
                    <a:lnTo>
                      <a:pt x="3302520" y="0"/>
                    </a:lnTo>
                    <a:cubicBezTo>
                      <a:pt x="3352560" y="0"/>
                      <a:pt x="3393278" y="40718"/>
                      <a:pt x="3393278" y="90759"/>
                    </a:cubicBezTo>
                    <a:lnTo>
                      <a:pt x="3393278" y="2177195"/>
                    </a:lnTo>
                    <a:cubicBezTo>
                      <a:pt x="3393278" y="2227235"/>
                      <a:pt x="3352971" y="2215856"/>
                      <a:pt x="3302931" y="2215856"/>
                    </a:cubicBezTo>
                    <a:lnTo>
                      <a:pt x="90786" y="2207794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AEF3E72F-2010-3417-5E0A-56196962FA28}"/>
                  </a:ext>
                </a:extLst>
              </p:cNvPr>
              <p:cNvSpPr/>
              <p:nvPr/>
            </p:nvSpPr>
            <p:spPr>
              <a:xfrm>
                <a:off x="3175134" y="3864105"/>
                <a:ext cx="1994278" cy="2460547"/>
              </a:xfrm>
              <a:custGeom>
                <a:avLst/>
                <a:gdLst>
                  <a:gd name="connsiteX0" fmla="*/ 1809608 w 1994278"/>
                  <a:gd name="connsiteY0" fmla="*/ 0 h 2460547"/>
                  <a:gd name="connsiteX1" fmla="*/ 0 w 1994278"/>
                  <a:gd name="connsiteY1" fmla="*/ 274 h 2460547"/>
                  <a:gd name="connsiteX2" fmla="*/ 701447 w 1994278"/>
                  <a:gd name="connsiteY2" fmla="*/ 2460548 h 2460547"/>
                  <a:gd name="connsiteX3" fmla="*/ 1809608 w 1994278"/>
                  <a:gd name="connsiteY3" fmla="*/ 2460274 h 2460547"/>
                  <a:gd name="connsiteX4" fmla="*/ 1994278 w 1994278"/>
                  <a:gd name="connsiteY4" fmla="*/ 2303105 h 2460547"/>
                  <a:gd name="connsiteX5" fmla="*/ 1994278 w 1994278"/>
                  <a:gd name="connsiteY5" fmla="*/ 157169 h 2460547"/>
                  <a:gd name="connsiteX6" fmla="*/ 1809608 w 1994278"/>
                  <a:gd name="connsiteY6" fmla="*/ 0 h 246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4278" h="2460547">
                    <a:moveTo>
                      <a:pt x="1809608" y="0"/>
                    </a:moveTo>
                    <a:lnTo>
                      <a:pt x="0" y="274"/>
                    </a:lnTo>
                    <a:lnTo>
                      <a:pt x="701447" y="2460548"/>
                    </a:lnTo>
                    <a:lnTo>
                      <a:pt x="1809608" y="2460274"/>
                    </a:lnTo>
                    <a:cubicBezTo>
                      <a:pt x="1911581" y="2460274"/>
                      <a:pt x="1994278" y="2389888"/>
                      <a:pt x="1994278" y="2303105"/>
                    </a:cubicBezTo>
                    <a:lnTo>
                      <a:pt x="1994278" y="157169"/>
                    </a:lnTo>
                    <a:cubicBezTo>
                      <a:pt x="1994278" y="70358"/>
                      <a:pt x="1911608" y="0"/>
                      <a:pt x="1809608" y="0"/>
                    </a:cubicBezTo>
                    <a:close/>
                  </a:path>
                </a:pathLst>
              </a:custGeom>
              <a:solidFill>
                <a:srgbClr val="FFFFFF">
                  <a:alpha val="5000"/>
                </a:srgbClr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</p:grp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8176E43-CC77-D0D4-EF32-58FA8854FFB6}"/>
                </a:ext>
              </a:extLst>
            </p:cNvPr>
            <p:cNvSpPr/>
            <p:nvPr/>
          </p:nvSpPr>
          <p:spPr>
            <a:xfrm>
              <a:off x="1672735" y="6067732"/>
              <a:ext cx="3393250" cy="7732"/>
            </a:xfrm>
            <a:custGeom>
              <a:avLst/>
              <a:gdLst>
                <a:gd name="connsiteX0" fmla="*/ 0 w 3393250"/>
                <a:gd name="connsiteY0" fmla="*/ 0 h 7732"/>
                <a:gd name="connsiteX1" fmla="*/ 3393251 w 3393250"/>
                <a:gd name="connsiteY1" fmla="*/ 0 h 7732"/>
                <a:gd name="connsiteX2" fmla="*/ 3393251 w 3393250"/>
                <a:gd name="connsiteY2" fmla="*/ 7732 h 7732"/>
                <a:gd name="connsiteX3" fmla="*/ 0 w 3393250"/>
                <a:gd name="connsiteY3" fmla="*/ 7732 h 7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3250" h="7732">
                  <a:moveTo>
                    <a:pt x="0" y="0"/>
                  </a:moveTo>
                  <a:lnTo>
                    <a:pt x="3393251" y="0"/>
                  </a:lnTo>
                  <a:lnTo>
                    <a:pt x="3393251" y="7732"/>
                  </a:lnTo>
                  <a:lnTo>
                    <a:pt x="0" y="7732"/>
                  </a:lnTo>
                  <a:close/>
                </a:path>
              </a:pathLst>
            </a:custGeom>
            <a:solidFill>
              <a:srgbClr val="404041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406"/>
              <a:endParaRPr lang="en-US" dirty="0">
                <a:ea typeface="+mn-ea"/>
              </a:endParaRPr>
            </a:p>
          </p:txBody>
        </p:sp>
        <p:grpSp>
          <p:nvGrpSpPr>
            <p:cNvPr id="38" name="Graphic 2">
              <a:extLst>
                <a:ext uri="{FF2B5EF4-FFF2-40B4-BE49-F238E27FC236}">
                  <a16:creationId xmlns:a16="http://schemas.microsoft.com/office/drawing/2014/main" id="{FC314D20-0003-1153-5603-87B8B10E4E5A}"/>
                </a:ext>
              </a:extLst>
            </p:cNvPr>
            <p:cNvGrpSpPr/>
            <p:nvPr/>
          </p:nvGrpSpPr>
          <p:grpSpPr>
            <a:xfrm>
              <a:off x="3355034" y="3982421"/>
              <a:ext cx="28680" cy="28872"/>
              <a:chOff x="3355034" y="3982421"/>
              <a:chExt cx="28680" cy="28872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1F08CAB-4A43-DB37-04EE-C4BAB5D46800}"/>
                  </a:ext>
                </a:extLst>
              </p:cNvPr>
              <p:cNvSpPr/>
              <p:nvPr/>
            </p:nvSpPr>
            <p:spPr>
              <a:xfrm>
                <a:off x="3355746" y="3983325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0 h 27967"/>
                  <a:gd name="connsiteX2" fmla="*/ 0 w 27967"/>
                  <a:gd name="connsiteY2" fmla="*/ 13984 h 27967"/>
                  <a:gd name="connsiteX3" fmla="*/ 13984 w 27967"/>
                  <a:gd name="connsiteY3" fmla="*/ 27968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6252"/>
                      <a:pt x="21689" y="0"/>
                      <a:pt x="13984" y="0"/>
                    </a:cubicBezTo>
                    <a:cubicBezTo>
                      <a:pt x="6279" y="0"/>
                      <a:pt x="0" y="6279"/>
                      <a:pt x="0" y="13984"/>
                    </a:cubicBezTo>
                    <a:cubicBezTo>
                      <a:pt x="0" y="21689"/>
                      <a:pt x="6252" y="27968"/>
                      <a:pt x="13984" y="27968"/>
                    </a:cubicBezTo>
                    <a:cubicBezTo>
                      <a:pt x="21716" y="27968"/>
                      <a:pt x="27968" y="21689"/>
                      <a:pt x="27968" y="13984"/>
                    </a:cubicBezTo>
                    <a:close/>
                  </a:path>
                </a:pathLst>
              </a:custGeom>
              <a:solidFill>
                <a:srgbClr val="58595B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294E142-418B-F895-D319-E06C526E4936}"/>
                  </a:ext>
                </a:extLst>
              </p:cNvPr>
              <p:cNvSpPr/>
              <p:nvPr/>
            </p:nvSpPr>
            <p:spPr>
              <a:xfrm>
                <a:off x="3355034" y="3982421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27968 h 27967"/>
                  <a:gd name="connsiteX2" fmla="*/ 0 w 27967"/>
                  <a:gd name="connsiteY2" fmla="*/ 13984 h 27967"/>
                  <a:gd name="connsiteX3" fmla="*/ 13984 w 27967"/>
                  <a:gd name="connsiteY3" fmla="*/ 0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21707"/>
                      <a:pt x="21707" y="27968"/>
                      <a:pt x="13984" y="27968"/>
                    </a:cubicBezTo>
                    <a:cubicBezTo>
                      <a:pt x="6261" y="27968"/>
                      <a:pt x="0" y="21707"/>
                      <a:pt x="0" y="13984"/>
                    </a:cubicBezTo>
                    <a:cubicBezTo>
                      <a:pt x="0" y="6261"/>
                      <a:pt x="6261" y="0"/>
                      <a:pt x="13984" y="0"/>
                    </a:cubicBezTo>
                    <a:cubicBezTo>
                      <a:pt x="21707" y="0"/>
                      <a:pt x="27968" y="6261"/>
                      <a:pt x="27968" y="13984"/>
                    </a:cubicBezTo>
                    <a:close/>
                  </a:path>
                </a:pathLst>
              </a:custGeom>
              <a:solidFill>
                <a:srgbClr val="8F8F8F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B5A8FB7-4613-84A2-FA22-16CAF3034AEA}"/>
                  </a:ext>
                </a:extLst>
              </p:cNvPr>
              <p:cNvSpPr/>
              <p:nvPr/>
            </p:nvSpPr>
            <p:spPr>
              <a:xfrm>
                <a:off x="3357035" y="3984422"/>
                <a:ext cx="23964" cy="23964"/>
              </a:xfrm>
              <a:custGeom>
                <a:avLst/>
                <a:gdLst>
                  <a:gd name="connsiteX0" fmla="*/ 23965 w 23964"/>
                  <a:gd name="connsiteY0" fmla="*/ 11982 h 23964"/>
                  <a:gd name="connsiteX1" fmla="*/ 11982 w 23964"/>
                  <a:gd name="connsiteY1" fmla="*/ 23965 h 23964"/>
                  <a:gd name="connsiteX2" fmla="*/ 0 w 23964"/>
                  <a:gd name="connsiteY2" fmla="*/ 11982 h 23964"/>
                  <a:gd name="connsiteX3" fmla="*/ 11982 w 23964"/>
                  <a:gd name="connsiteY3" fmla="*/ 0 h 23964"/>
                  <a:gd name="connsiteX4" fmla="*/ 23965 w 23964"/>
                  <a:gd name="connsiteY4" fmla="*/ 11982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64" h="23964">
                    <a:moveTo>
                      <a:pt x="23965" y="11982"/>
                    </a:moveTo>
                    <a:cubicBezTo>
                      <a:pt x="23965" y="18600"/>
                      <a:pt x="18600" y="23965"/>
                      <a:pt x="11982" y="23965"/>
                    </a:cubicBezTo>
                    <a:cubicBezTo>
                      <a:pt x="5365" y="23965"/>
                      <a:pt x="0" y="18600"/>
                      <a:pt x="0" y="11982"/>
                    </a:cubicBezTo>
                    <a:cubicBezTo>
                      <a:pt x="0" y="5365"/>
                      <a:pt x="5365" y="0"/>
                      <a:pt x="11982" y="0"/>
                    </a:cubicBezTo>
                    <a:cubicBezTo>
                      <a:pt x="18600" y="0"/>
                      <a:pt x="23965" y="5365"/>
                      <a:pt x="23965" y="119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AF11FFA-584E-154C-35D7-E63B2F5FF438}"/>
                  </a:ext>
                </a:extLst>
              </p:cNvPr>
              <p:cNvSpPr/>
              <p:nvPr/>
            </p:nvSpPr>
            <p:spPr>
              <a:xfrm>
                <a:off x="3360874" y="3988261"/>
                <a:ext cx="16287" cy="16287"/>
              </a:xfrm>
              <a:custGeom>
                <a:avLst/>
                <a:gdLst>
                  <a:gd name="connsiteX0" fmla="*/ 16287 w 16287"/>
                  <a:gd name="connsiteY0" fmla="*/ 8144 h 16287"/>
                  <a:gd name="connsiteX1" fmla="*/ 8144 w 16287"/>
                  <a:gd name="connsiteY1" fmla="*/ 16287 h 16287"/>
                  <a:gd name="connsiteX2" fmla="*/ 0 w 16287"/>
                  <a:gd name="connsiteY2" fmla="*/ 8144 h 16287"/>
                  <a:gd name="connsiteX3" fmla="*/ 8144 w 16287"/>
                  <a:gd name="connsiteY3" fmla="*/ 0 h 16287"/>
                  <a:gd name="connsiteX4" fmla="*/ 16287 w 16287"/>
                  <a:gd name="connsiteY4" fmla="*/ 8144 h 1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" h="16287">
                    <a:moveTo>
                      <a:pt x="16287" y="8144"/>
                    </a:moveTo>
                    <a:cubicBezTo>
                      <a:pt x="16287" y="12641"/>
                      <a:pt x="12641" y="16287"/>
                      <a:pt x="8144" y="16287"/>
                    </a:cubicBezTo>
                    <a:cubicBezTo>
                      <a:pt x="3646" y="16287"/>
                      <a:pt x="0" y="12641"/>
                      <a:pt x="0" y="8144"/>
                    </a:cubicBezTo>
                    <a:cubicBezTo>
                      <a:pt x="0" y="3646"/>
                      <a:pt x="3646" y="0"/>
                      <a:pt x="8144" y="0"/>
                    </a:cubicBezTo>
                    <a:cubicBezTo>
                      <a:pt x="12641" y="0"/>
                      <a:pt x="16287" y="3646"/>
                      <a:pt x="16287" y="8144"/>
                    </a:cubicBezTo>
                    <a:close/>
                  </a:path>
                </a:pathLst>
              </a:custGeom>
              <a:solidFill>
                <a:srgbClr val="454545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0F3A871-72D6-11CA-B74D-0B111EE2F821}"/>
                  </a:ext>
                </a:extLst>
              </p:cNvPr>
              <p:cNvSpPr/>
              <p:nvPr/>
            </p:nvSpPr>
            <p:spPr>
              <a:xfrm>
                <a:off x="3366742" y="3994129"/>
                <a:ext cx="4551" cy="4551"/>
              </a:xfrm>
              <a:custGeom>
                <a:avLst/>
                <a:gdLst>
                  <a:gd name="connsiteX0" fmla="*/ 4552 w 4551"/>
                  <a:gd name="connsiteY0" fmla="*/ 2276 h 4551"/>
                  <a:gd name="connsiteX1" fmla="*/ 2276 w 4551"/>
                  <a:gd name="connsiteY1" fmla="*/ 4552 h 4551"/>
                  <a:gd name="connsiteX2" fmla="*/ 0 w 4551"/>
                  <a:gd name="connsiteY2" fmla="*/ 2276 h 4551"/>
                  <a:gd name="connsiteX3" fmla="*/ 2276 w 4551"/>
                  <a:gd name="connsiteY3" fmla="*/ 0 h 4551"/>
                  <a:gd name="connsiteX4" fmla="*/ 4552 w 4551"/>
                  <a:gd name="connsiteY4" fmla="*/ 2276 h 4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1" h="4551">
                    <a:moveTo>
                      <a:pt x="4552" y="2276"/>
                    </a:moveTo>
                    <a:cubicBezTo>
                      <a:pt x="4552" y="3533"/>
                      <a:pt x="3533" y="4552"/>
                      <a:pt x="2276" y="4552"/>
                    </a:cubicBezTo>
                    <a:cubicBezTo>
                      <a:pt x="1019" y="4552"/>
                      <a:pt x="0" y="3533"/>
                      <a:pt x="0" y="2276"/>
                    </a:cubicBezTo>
                    <a:cubicBezTo>
                      <a:pt x="0" y="1019"/>
                      <a:pt x="1019" y="0"/>
                      <a:pt x="2276" y="0"/>
                    </a:cubicBezTo>
                    <a:cubicBezTo>
                      <a:pt x="3533" y="0"/>
                      <a:pt x="4552" y="1019"/>
                      <a:pt x="4552" y="22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</p:grpSp>
        <p:grpSp>
          <p:nvGrpSpPr>
            <p:cNvPr id="39" name="Graphic 2">
              <a:extLst>
                <a:ext uri="{FF2B5EF4-FFF2-40B4-BE49-F238E27FC236}">
                  <a16:creationId xmlns:a16="http://schemas.microsoft.com/office/drawing/2014/main" id="{B0335CC3-6E90-9358-DEE2-D09F0E5B224A}"/>
                </a:ext>
              </a:extLst>
            </p:cNvPr>
            <p:cNvGrpSpPr/>
            <p:nvPr/>
          </p:nvGrpSpPr>
          <p:grpSpPr>
            <a:xfrm>
              <a:off x="1329003" y="6140915"/>
              <a:ext cx="4080768" cy="99615"/>
              <a:chOff x="1329003" y="6140915"/>
              <a:chExt cx="4080768" cy="99615"/>
            </a:xfrm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D9B8A62-742D-F47A-F5D0-C09F4A72930F}"/>
                  </a:ext>
                </a:extLst>
              </p:cNvPr>
              <p:cNvSpPr/>
              <p:nvPr/>
            </p:nvSpPr>
            <p:spPr>
              <a:xfrm>
                <a:off x="1329003" y="6140915"/>
                <a:ext cx="4080740" cy="48559"/>
              </a:xfrm>
              <a:custGeom>
                <a:avLst/>
                <a:gdLst>
                  <a:gd name="connsiteX0" fmla="*/ 4080741 w 4080740"/>
                  <a:gd name="connsiteY0" fmla="*/ 0 h 48559"/>
                  <a:gd name="connsiteX1" fmla="*/ 2040371 w 4080740"/>
                  <a:gd name="connsiteY1" fmla="*/ 0 h 48559"/>
                  <a:gd name="connsiteX2" fmla="*/ 0 w 4080740"/>
                  <a:gd name="connsiteY2" fmla="*/ 0 h 48559"/>
                  <a:gd name="connsiteX3" fmla="*/ 0 w 4080740"/>
                  <a:gd name="connsiteY3" fmla="*/ 48560 h 48559"/>
                  <a:gd name="connsiteX4" fmla="*/ 4080741 w 4080740"/>
                  <a:gd name="connsiteY4" fmla="*/ 48560 h 48559"/>
                  <a:gd name="connsiteX5" fmla="*/ 4080741 w 4080740"/>
                  <a:gd name="connsiteY5" fmla="*/ 0 h 4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0740" h="48559">
                    <a:moveTo>
                      <a:pt x="4080741" y="0"/>
                    </a:moveTo>
                    <a:lnTo>
                      <a:pt x="2040371" y="0"/>
                    </a:lnTo>
                    <a:lnTo>
                      <a:pt x="0" y="0"/>
                    </a:lnTo>
                    <a:lnTo>
                      <a:pt x="0" y="48560"/>
                    </a:lnTo>
                    <a:lnTo>
                      <a:pt x="4080741" y="48560"/>
                    </a:lnTo>
                    <a:lnTo>
                      <a:pt x="40807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D5ABEDA-1917-4DE0-5AD9-CCEF8BE89BD1}"/>
                  </a:ext>
                </a:extLst>
              </p:cNvPr>
              <p:cNvSpPr/>
              <p:nvPr/>
            </p:nvSpPr>
            <p:spPr>
              <a:xfrm>
                <a:off x="1329003" y="6189475"/>
                <a:ext cx="4080768" cy="51055"/>
              </a:xfrm>
              <a:custGeom>
                <a:avLst/>
                <a:gdLst>
                  <a:gd name="connsiteX0" fmla="*/ 0 w 4080768"/>
                  <a:gd name="connsiteY0" fmla="*/ 0 h 51055"/>
                  <a:gd name="connsiteX1" fmla="*/ 0 w 4080768"/>
                  <a:gd name="connsiteY1" fmla="*/ 0 h 51055"/>
                  <a:gd name="connsiteX2" fmla="*/ 221385 w 4080768"/>
                  <a:gd name="connsiteY2" fmla="*/ 51001 h 51055"/>
                  <a:gd name="connsiteX3" fmla="*/ 2040398 w 4080768"/>
                  <a:gd name="connsiteY3" fmla="*/ 51055 h 51055"/>
                  <a:gd name="connsiteX4" fmla="*/ 3859383 w 4080768"/>
                  <a:gd name="connsiteY4" fmla="*/ 51001 h 51055"/>
                  <a:gd name="connsiteX5" fmla="*/ 4080769 w 4080768"/>
                  <a:gd name="connsiteY5" fmla="*/ 55 h 51055"/>
                  <a:gd name="connsiteX6" fmla="*/ 4080769 w 4080768"/>
                  <a:gd name="connsiteY6" fmla="*/ 55 h 51055"/>
                  <a:gd name="connsiteX7" fmla="*/ 0 w 4080768"/>
                  <a:gd name="connsiteY7" fmla="*/ 27 h 5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80768" h="51055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28269" y="52755"/>
                      <a:pt x="221385" y="51001"/>
                    </a:cubicBezTo>
                    <a:lnTo>
                      <a:pt x="2040398" y="51055"/>
                    </a:lnTo>
                    <a:lnTo>
                      <a:pt x="3859383" y="51001"/>
                    </a:lnTo>
                    <a:cubicBezTo>
                      <a:pt x="3952527" y="52755"/>
                      <a:pt x="4080769" y="55"/>
                      <a:pt x="4080769" y="55"/>
                    </a:cubicBezTo>
                    <a:lnTo>
                      <a:pt x="4080769" y="55"/>
                    </a:lnTo>
                    <a:cubicBezTo>
                      <a:pt x="4080769" y="55"/>
                      <a:pt x="0" y="27"/>
                      <a:pt x="0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69E1334-74E6-C256-D737-8B23AC47AB1D}"/>
                  </a:ext>
                </a:extLst>
              </p:cNvPr>
              <p:cNvSpPr/>
              <p:nvPr/>
            </p:nvSpPr>
            <p:spPr>
              <a:xfrm>
                <a:off x="5398886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1A1F23B2-E2C2-CD87-9A26-52E636ED63D5}"/>
                  </a:ext>
                </a:extLst>
              </p:cNvPr>
              <p:cNvSpPr/>
              <p:nvPr/>
            </p:nvSpPr>
            <p:spPr>
              <a:xfrm>
                <a:off x="1329278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6"/>
                <a:endParaRPr lang="en-US" dirty="0">
                  <a:ea typeface="+mn-ea"/>
                </a:endParaRPr>
              </a:p>
            </p:txBody>
          </p:sp>
          <p:grpSp>
            <p:nvGrpSpPr>
              <p:cNvPr id="44" name="Graphic 2">
                <a:extLst>
                  <a:ext uri="{FF2B5EF4-FFF2-40B4-BE49-F238E27FC236}">
                    <a16:creationId xmlns:a16="http://schemas.microsoft.com/office/drawing/2014/main" id="{D283A666-D1C0-C55D-7595-C2C282744EB1}"/>
                  </a:ext>
                </a:extLst>
              </p:cNvPr>
              <p:cNvGrpSpPr/>
              <p:nvPr/>
            </p:nvGrpSpPr>
            <p:grpSpPr>
              <a:xfrm>
                <a:off x="5069961" y="6151663"/>
                <a:ext cx="106223" cy="28872"/>
                <a:chOff x="5069961" y="6151663"/>
                <a:chExt cx="106223" cy="28872"/>
              </a:xfrm>
            </p:grpSpPr>
            <p:grpSp>
              <p:nvGrpSpPr>
                <p:cNvPr id="48" name="Graphic 2">
                  <a:extLst>
                    <a:ext uri="{FF2B5EF4-FFF2-40B4-BE49-F238E27FC236}">
                      <a16:creationId xmlns:a16="http://schemas.microsoft.com/office/drawing/2014/main" id="{070EE18D-2C11-E4D2-5711-71579EDAF2A1}"/>
                    </a:ext>
                  </a:extLst>
                </p:cNvPr>
                <p:cNvGrpSpPr/>
                <p:nvPr/>
              </p:nvGrpSpPr>
              <p:grpSpPr>
                <a:xfrm>
                  <a:off x="5069961" y="6158765"/>
                  <a:ext cx="14559" cy="14669"/>
                  <a:chOff x="5069961" y="6158765"/>
                  <a:chExt cx="14559" cy="14669"/>
                </a:xfrm>
              </p:grpSpPr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81043764-437B-0BF4-F79B-5414CA203541}"/>
                      </a:ext>
                    </a:extLst>
                  </p:cNvPr>
                  <p:cNvSpPr/>
                  <p:nvPr/>
                </p:nvSpPr>
                <p:spPr>
                  <a:xfrm>
                    <a:off x="5070318" y="6159231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0"/>
                          <a:pt x="11023" y="0"/>
                          <a:pt x="7102" y="0"/>
                        </a:cubicBezTo>
                        <a:cubicBezTo>
                          <a:pt x="3181" y="0"/>
                          <a:pt x="0" y="3180"/>
                          <a:pt x="0" y="7102"/>
                        </a:cubicBezTo>
                        <a:cubicBezTo>
                          <a:pt x="0" y="11022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2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C8FC3EDE-475A-031A-1778-8D40431C88CA}"/>
                      </a:ext>
                    </a:extLst>
                  </p:cNvPr>
                  <p:cNvSpPr/>
                  <p:nvPr/>
                </p:nvSpPr>
                <p:spPr>
                  <a:xfrm>
                    <a:off x="5069961" y="6158765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1"/>
                          <a:pt x="11023" y="0"/>
                          <a:pt x="7102" y="0"/>
                        </a:cubicBezTo>
                        <a:cubicBezTo>
                          <a:pt x="3181" y="0"/>
                          <a:pt x="0" y="3181"/>
                          <a:pt x="0" y="7102"/>
                        </a:cubicBezTo>
                        <a:cubicBezTo>
                          <a:pt x="0" y="11023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3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644903A2-8852-A49E-A2EF-91AA2390A165}"/>
                      </a:ext>
                    </a:extLst>
                  </p:cNvPr>
                  <p:cNvSpPr/>
                  <p:nvPr/>
                </p:nvSpPr>
                <p:spPr>
                  <a:xfrm>
                    <a:off x="5070976" y="6159779"/>
                    <a:ext cx="12174" cy="12174"/>
                  </a:xfrm>
                  <a:custGeom>
                    <a:avLst/>
                    <a:gdLst>
                      <a:gd name="connsiteX0" fmla="*/ 12174 w 12174"/>
                      <a:gd name="connsiteY0" fmla="*/ 6087 h 12174"/>
                      <a:gd name="connsiteX1" fmla="*/ 6087 w 12174"/>
                      <a:gd name="connsiteY1" fmla="*/ 0 h 12174"/>
                      <a:gd name="connsiteX2" fmla="*/ 0 w 12174"/>
                      <a:gd name="connsiteY2" fmla="*/ 6087 h 12174"/>
                      <a:gd name="connsiteX3" fmla="*/ 6087 w 12174"/>
                      <a:gd name="connsiteY3" fmla="*/ 12174 h 12174"/>
                      <a:gd name="connsiteX4" fmla="*/ 12174 w 12174"/>
                      <a:gd name="connsiteY4" fmla="*/ 6087 h 121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174" h="12174">
                        <a:moveTo>
                          <a:pt x="12174" y="6087"/>
                        </a:moveTo>
                        <a:cubicBezTo>
                          <a:pt x="12174" y="2742"/>
                          <a:pt x="9460" y="0"/>
                          <a:pt x="6087" y="0"/>
                        </a:cubicBezTo>
                        <a:cubicBezTo>
                          <a:pt x="2715" y="0"/>
                          <a:pt x="0" y="2715"/>
                          <a:pt x="0" y="6087"/>
                        </a:cubicBezTo>
                        <a:cubicBezTo>
                          <a:pt x="0" y="9460"/>
                          <a:pt x="2715" y="12174"/>
                          <a:pt x="6087" y="12174"/>
                        </a:cubicBezTo>
                        <a:cubicBezTo>
                          <a:pt x="9460" y="12174"/>
                          <a:pt x="12174" y="9460"/>
                          <a:pt x="12174" y="6087"/>
                        </a:cubicBezTo>
                        <a:close/>
                      </a:path>
                    </a:pathLst>
                  </a:custGeom>
                  <a:solidFill>
                    <a:srgbClr val="333333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</p:grpSp>
            <p:grpSp>
              <p:nvGrpSpPr>
                <p:cNvPr id="49" name="Graphic 2">
                  <a:extLst>
                    <a:ext uri="{FF2B5EF4-FFF2-40B4-BE49-F238E27FC236}">
                      <a16:creationId xmlns:a16="http://schemas.microsoft.com/office/drawing/2014/main" id="{1A0DF5EF-AFE6-FF42-AC2D-702C030364DC}"/>
                    </a:ext>
                  </a:extLst>
                </p:cNvPr>
                <p:cNvGrpSpPr/>
                <p:nvPr/>
              </p:nvGrpSpPr>
              <p:grpSpPr>
                <a:xfrm>
                  <a:off x="5105196" y="6151663"/>
                  <a:ext cx="28708" cy="28872"/>
                  <a:chOff x="5105196" y="6151663"/>
                  <a:chExt cx="28708" cy="28872"/>
                </a:xfrm>
              </p:grpSpPr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BBD88E40-B91F-C148-9AD0-7A500F56C4EF}"/>
                      </a:ext>
                    </a:extLst>
                  </p:cNvPr>
                  <p:cNvSpPr/>
                  <p:nvPr/>
                </p:nvSpPr>
                <p:spPr>
                  <a:xfrm>
                    <a:off x="5105936" y="6152568"/>
                    <a:ext cx="27968" cy="27967"/>
                  </a:xfrm>
                  <a:custGeom>
                    <a:avLst/>
                    <a:gdLst>
                      <a:gd name="connsiteX0" fmla="*/ 27968 w 27968"/>
                      <a:gd name="connsiteY0" fmla="*/ 13984 h 27967"/>
                      <a:gd name="connsiteX1" fmla="*/ 13984 w 27968"/>
                      <a:gd name="connsiteY1" fmla="*/ 0 h 27967"/>
                      <a:gd name="connsiteX2" fmla="*/ 0 w 27968"/>
                      <a:gd name="connsiteY2" fmla="*/ 13984 h 27967"/>
                      <a:gd name="connsiteX3" fmla="*/ 13984 w 27968"/>
                      <a:gd name="connsiteY3" fmla="*/ 27968 h 27967"/>
                      <a:gd name="connsiteX4" fmla="*/ 27968 w 27968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8" h="27967">
                        <a:moveTo>
                          <a:pt x="27968" y="13984"/>
                        </a:moveTo>
                        <a:cubicBezTo>
                          <a:pt x="27968" y="6252"/>
                          <a:pt x="21716" y="0"/>
                          <a:pt x="13984" y="0"/>
                        </a:cubicBezTo>
                        <a:cubicBezTo>
                          <a:pt x="6252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D5329BC7-B9DE-6CE4-5398-4E62953C94F6}"/>
                      </a:ext>
                    </a:extLst>
                  </p:cNvPr>
                  <p:cNvSpPr/>
                  <p:nvPr/>
                </p:nvSpPr>
                <p:spPr>
                  <a:xfrm>
                    <a:off x="5105196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6" name="Freeform: Shape 55">
                    <a:extLst>
                      <a:ext uri="{FF2B5EF4-FFF2-40B4-BE49-F238E27FC236}">
                        <a16:creationId xmlns:a16="http://schemas.microsoft.com/office/drawing/2014/main" id="{E1E5618D-7D80-983E-BB84-996E124E2E2D}"/>
                      </a:ext>
                    </a:extLst>
                  </p:cNvPr>
                  <p:cNvSpPr/>
                  <p:nvPr/>
                </p:nvSpPr>
                <p:spPr>
                  <a:xfrm>
                    <a:off x="5107197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</p:grpSp>
            <p:grpSp>
              <p:nvGrpSpPr>
                <p:cNvPr id="50" name="Graphic 2">
                  <a:extLst>
                    <a:ext uri="{FF2B5EF4-FFF2-40B4-BE49-F238E27FC236}">
                      <a16:creationId xmlns:a16="http://schemas.microsoft.com/office/drawing/2014/main" id="{BD187A83-CABC-5858-DA38-83D91BA85E12}"/>
                    </a:ext>
                  </a:extLst>
                </p:cNvPr>
                <p:cNvGrpSpPr/>
                <p:nvPr/>
              </p:nvGrpSpPr>
              <p:grpSpPr>
                <a:xfrm>
                  <a:off x="5147504" y="6151663"/>
                  <a:ext cx="28680" cy="28872"/>
                  <a:chOff x="5147504" y="6151663"/>
                  <a:chExt cx="28680" cy="28872"/>
                </a:xfrm>
              </p:grpSpPr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FD8608A1-A8B2-DC72-5A59-800F69E1B637}"/>
                      </a:ext>
                    </a:extLst>
                  </p:cNvPr>
                  <p:cNvSpPr/>
                  <p:nvPr/>
                </p:nvSpPr>
                <p:spPr>
                  <a:xfrm>
                    <a:off x="5148217" y="6152568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0 h 27967"/>
                      <a:gd name="connsiteX2" fmla="*/ 0 w 27967"/>
                      <a:gd name="connsiteY2" fmla="*/ 13984 h 27967"/>
                      <a:gd name="connsiteX3" fmla="*/ 13984 w 27967"/>
                      <a:gd name="connsiteY3" fmla="*/ 27968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6252"/>
                          <a:pt x="21689" y="0"/>
                          <a:pt x="13984" y="0"/>
                        </a:cubicBezTo>
                        <a:cubicBezTo>
                          <a:pt x="6279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E681630-F22B-1C33-1989-762E84C2E50C}"/>
                      </a:ext>
                    </a:extLst>
                  </p:cNvPr>
                  <p:cNvSpPr/>
                  <p:nvPr/>
                </p:nvSpPr>
                <p:spPr>
                  <a:xfrm>
                    <a:off x="5147504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2A656729-73AF-57DC-02CB-E2F443B63609}"/>
                      </a:ext>
                    </a:extLst>
                  </p:cNvPr>
                  <p:cNvSpPr/>
                  <p:nvPr/>
                </p:nvSpPr>
                <p:spPr>
                  <a:xfrm>
                    <a:off x="5149506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914406"/>
                    <a:endParaRPr lang="en-US" dirty="0">
                      <a:ea typeface="+mn-ea"/>
                    </a:endParaRPr>
                  </a:p>
                </p:txBody>
              </p:sp>
            </p:grpSp>
          </p:grpSp>
          <p:grpSp>
            <p:nvGrpSpPr>
              <p:cNvPr id="45" name="Graphic 2">
                <a:extLst>
                  <a:ext uri="{FF2B5EF4-FFF2-40B4-BE49-F238E27FC236}">
                    <a16:creationId xmlns:a16="http://schemas.microsoft.com/office/drawing/2014/main" id="{05F15418-2F8C-3D55-FDF4-086BFB3D99D7}"/>
                  </a:ext>
                </a:extLst>
              </p:cNvPr>
              <p:cNvGrpSpPr/>
              <p:nvPr/>
            </p:nvGrpSpPr>
            <p:grpSpPr>
              <a:xfrm>
                <a:off x="3103267" y="6140915"/>
                <a:ext cx="532268" cy="27748"/>
                <a:chOff x="3103267" y="6140915"/>
                <a:chExt cx="532268" cy="27748"/>
              </a:xfrm>
            </p:grpSpPr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D97E3A34-7E8C-7621-0B0C-C35570B88CC0}"/>
                    </a:ext>
                  </a:extLst>
                </p:cNvPr>
                <p:cNvSpPr/>
                <p:nvPr/>
              </p:nvSpPr>
              <p:spPr>
                <a:xfrm>
                  <a:off x="3103267" y="6140915"/>
                  <a:ext cx="532240" cy="27748"/>
                </a:xfrm>
                <a:custGeom>
                  <a:avLst/>
                  <a:gdLst>
                    <a:gd name="connsiteX0" fmla="*/ 266381 w 532240"/>
                    <a:gd name="connsiteY0" fmla="*/ 0 h 27748"/>
                    <a:gd name="connsiteX1" fmla="*/ 0 w 532240"/>
                    <a:gd name="connsiteY1" fmla="*/ 0 h 27748"/>
                    <a:gd name="connsiteX2" fmla="*/ 63010 w 532240"/>
                    <a:gd name="connsiteY2" fmla="*/ 27749 h 27748"/>
                    <a:gd name="connsiteX3" fmla="*/ 469231 w 532240"/>
                    <a:gd name="connsiteY3" fmla="*/ 27749 h 27748"/>
                    <a:gd name="connsiteX4" fmla="*/ 532241 w 532240"/>
                    <a:gd name="connsiteY4" fmla="*/ 0 h 27748"/>
                    <a:gd name="connsiteX5" fmla="*/ 266381 w 532240"/>
                    <a:gd name="connsiteY5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2240" h="27748">
                      <a:moveTo>
                        <a:pt x="266381" y="0"/>
                      </a:moveTo>
                      <a:lnTo>
                        <a:pt x="0" y="0"/>
                      </a:lnTo>
                      <a:cubicBezTo>
                        <a:pt x="0" y="0"/>
                        <a:pt x="5868" y="27749"/>
                        <a:pt x="63010" y="27749"/>
                      </a:cubicBezTo>
                      <a:lnTo>
                        <a:pt x="469231" y="27749"/>
                      </a:lnTo>
                      <a:cubicBezTo>
                        <a:pt x="526373" y="27749"/>
                        <a:pt x="532241" y="0"/>
                        <a:pt x="532241" y="0"/>
                      </a:cubicBezTo>
                      <a:lnTo>
                        <a:pt x="26638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06"/>
                  <a:endParaRPr lang="en-US" dirty="0">
                    <a:ea typeface="+mn-ea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2527B7CF-B7B4-7177-D90D-0FEA1248F46E}"/>
                    </a:ext>
                  </a:extLst>
                </p:cNvPr>
                <p:cNvSpPr/>
                <p:nvPr/>
              </p:nvSpPr>
              <p:spPr>
                <a:xfrm>
                  <a:off x="3123338" y="6140915"/>
                  <a:ext cx="512197" cy="27748"/>
                </a:xfrm>
                <a:custGeom>
                  <a:avLst/>
                  <a:gdLst>
                    <a:gd name="connsiteX0" fmla="*/ 502299 w 512197"/>
                    <a:gd name="connsiteY0" fmla="*/ 0 h 27748"/>
                    <a:gd name="connsiteX1" fmla="*/ 440056 w 512197"/>
                    <a:gd name="connsiteY1" fmla="*/ 24349 h 27748"/>
                    <a:gd name="connsiteX2" fmla="*/ 36166 w 512197"/>
                    <a:gd name="connsiteY2" fmla="*/ 24349 h 27748"/>
                    <a:gd name="connsiteX3" fmla="*/ 0 w 512197"/>
                    <a:gd name="connsiteY3" fmla="*/ 19989 h 27748"/>
                    <a:gd name="connsiteX4" fmla="*/ 45187 w 512197"/>
                    <a:gd name="connsiteY4" fmla="*/ 27749 h 27748"/>
                    <a:gd name="connsiteX5" fmla="*/ 449077 w 512197"/>
                    <a:gd name="connsiteY5" fmla="*/ 27749 h 27748"/>
                    <a:gd name="connsiteX6" fmla="*/ 512197 w 512197"/>
                    <a:gd name="connsiteY6" fmla="*/ 0 h 27748"/>
                    <a:gd name="connsiteX7" fmla="*/ 502326 w 512197"/>
                    <a:gd name="connsiteY7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2197" h="27748">
                      <a:moveTo>
                        <a:pt x="502299" y="0"/>
                      </a:moveTo>
                      <a:cubicBezTo>
                        <a:pt x="499392" y="9295"/>
                        <a:pt x="483544" y="24349"/>
                        <a:pt x="440056" y="24349"/>
                      </a:cubicBezTo>
                      <a:lnTo>
                        <a:pt x="36166" y="24349"/>
                      </a:lnTo>
                      <a:cubicBezTo>
                        <a:pt x="20565" y="24349"/>
                        <a:pt x="8829" y="22649"/>
                        <a:pt x="0" y="19989"/>
                      </a:cubicBezTo>
                      <a:cubicBezTo>
                        <a:pt x="9350" y="24349"/>
                        <a:pt x="23553" y="27749"/>
                        <a:pt x="45187" y="27749"/>
                      </a:cubicBezTo>
                      <a:lnTo>
                        <a:pt x="449077" y="27749"/>
                      </a:lnTo>
                      <a:cubicBezTo>
                        <a:pt x="505891" y="27749"/>
                        <a:pt x="512197" y="0"/>
                        <a:pt x="512197" y="0"/>
                      </a:cubicBezTo>
                      <a:lnTo>
                        <a:pt x="502326" y="0"/>
                      </a:lnTo>
                      <a:close/>
                    </a:path>
                  </a:pathLst>
                </a:custGeom>
                <a:solidFill>
                  <a:srgbClr val="D1D3D4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06"/>
                  <a:endParaRPr lang="en-US" dirty="0">
                    <a:ea typeface="+mn-ea"/>
                  </a:endParaRPr>
                </a:p>
              </p:txBody>
            </p:sp>
          </p:grpSp>
        </p:grp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E233136B-0D1B-314F-3523-4ECAE62367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9194" y="4818186"/>
            <a:ext cx="3297170" cy="1911874"/>
          </a:xfrm>
          <a:prstGeom prst="rect">
            <a:avLst/>
          </a:prstGeom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A3DD6CEB-897C-9F38-42E2-7F5F3AF57B28}"/>
              </a:ext>
            </a:extLst>
          </p:cNvPr>
          <p:cNvGrpSpPr>
            <a:grpSpLocks/>
          </p:cNvGrpSpPr>
          <p:nvPr/>
        </p:nvGrpSpPr>
        <p:grpSpPr>
          <a:xfrm>
            <a:off x="6709356" y="4398608"/>
            <a:ext cx="775144" cy="775144"/>
            <a:chOff x="4887648" y="5202916"/>
            <a:chExt cx="503992" cy="503992"/>
          </a:xfrm>
        </p:grpSpPr>
        <p:sp>
          <p:nvSpPr>
            <p:cNvPr id="79" name="Google Shape;557;p30">
              <a:extLst>
                <a:ext uri="{FF2B5EF4-FFF2-40B4-BE49-F238E27FC236}">
                  <a16:creationId xmlns:a16="http://schemas.microsoft.com/office/drawing/2014/main" id="{D8D0F656-88CC-70C4-37CB-5A8075747795}"/>
                </a:ext>
              </a:extLst>
            </p:cNvPr>
            <p:cNvSpPr/>
            <p:nvPr/>
          </p:nvSpPr>
          <p:spPr>
            <a:xfrm>
              <a:off x="4887648" y="5202916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60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C0F9C85C-055E-690C-3F54-613038F2B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999772" y="5321545"/>
              <a:ext cx="279745" cy="266734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0917193-F61A-B148-D49C-798467F088AA}"/>
              </a:ext>
            </a:extLst>
          </p:cNvPr>
          <p:cNvGrpSpPr>
            <a:grpSpLocks/>
          </p:cNvGrpSpPr>
          <p:nvPr/>
        </p:nvGrpSpPr>
        <p:grpSpPr>
          <a:xfrm>
            <a:off x="8154164" y="1857427"/>
            <a:ext cx="775144" cy="775144"/>
            <a:chOff x="4887648" y="5202916"/>
            <a:chExt cx="503992" cy="503992"/>
          </a:xfrm>
        </p:grpSpPr>
        <p:sp>
          <p:nvSpPr>
            <p:cNvPr id="69" name="Google Shape;557;p30">
              <a:extLst>
                <a:ext uri="{FF2B5EF4-FFF2-40B4-BE49-F238E27FC236}">
                  <a16:creationId xmlns:a16="http://schemas.microsoft.com/office/drawing/2014/main" id="{C3C61E8F-B61E-43CE-6C9D-B7CAD5908DA2}"/>
                </a:ext>
              </a:extLst>
            </p:cNvPr>
            <p:cNvSpPr/>
            <p:nvPr/>
          </p:nvSpPr>
          <p:spPr>
            <a:xfrm>
              <a:off x="4887648" y="5202916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60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D29E85DB-8BB2-BFB6-AEA8-32F6E710D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999772" y="5321545"/>
              <a:ext cx="279745" cy="266734"/>
            </a:xfrm>
            <a:prstGeom prst="rect">
              <a:avLst/>
            </a:prstGeom>
          </p:spPr>
        </p:pic>
      </p:grpSp>
      <p:pic>
        <p:nvPicPr>
          <p:cNvPr id="3" name="Graphic 2">
            <a:extLst>
              <a:ext uri="{FF2B5EF4-FFF2-40B4-BE49-F238E27FC236}">
                <a16:creationId xmlns:a16="http://schemas.microsoft.com/office/drawing/2014/main" id="{65AA308F-9B36-1D35-FD09-90FED77904D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34249" y="4188471"/>
            <a:ext cx="392589" cy="392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44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C3D5D9-A4E4-2A8B-3312-A86545505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787421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C3D5D9-A4E4-2A8B-3312-A86545505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4049970-A4FC-E703-56F8-F87E8EC94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366447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Web Scraping Tool for Second-Hand Car Sale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AA060237-E879-E368-4A4F-459E8A7B34E1}"/>
              </a:ext>
            </a:extLst>
          </p:cNvPr>
          <p:cNvSpPr>
            <a:spLocks/>
          </p:cNvSpPr>
          <p:nvPr/>
        </p:nvSpPr>
        <p:spPr>
          <a:xfrm flipH="1">
            <a:off x="11405815" y="618028"/>
            <a:ext cx="2033785" cy="977037"/>
          </a:xfrm>
          <a:prstGeom prst="homePlate">
            <a:avLst>
              <a:gd name="adj" fmla="val 1507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6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7" name="Google Shape;547;p30">
            <a:extLst>
              <a:ext uri="{FF2B5EF4-FFF2-40B4-BE49-F238E27FC236}">
                <a16:creationId xmlns:a16="http://schemas.microsoft.com/office/drawing/2014/main" id="{14EEBC35-7C75-CC36-C151-1C15D60622D3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26904" y="677992"/>
            <a:ext cx="949148" cy="85711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31;p25">
            <a:extLst>
              <a:ext uri="{FF2B5EF4-FFF2-40B4-BE49-F238E27FC236}">
                <a16:creationId xmlns:a16="http://schemas.microsoft.com/office/drawing/2014/main" id="{437CDCD2-62E1-68A0-3BC4-ABE11E06E204}"/>
              </a:ext>
            </a:extLst>
          </p:cNvPr>
          <p:cNvSpPr>
            <a:spLocks/>
          </p:cNvSpPr>
          <p:nvPr/>
        </p:nvSpPr>
        <p:spPr>
          <a:xfrm>
            <a:off x="551025" y="2311315"/>
            <a:ext cx="4028843" cy="4672014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dirty="0">
              <a:ea typeface="+mn-ea"/>
            </a:endParaRPr>
          </a:p>
        </p:txBody>
      </p:sp>
      <p:sp>
        <p:nvSpPr>
          <p:cNvPr id="9" name="Google Shape;831;p25">
            <a:extLst>
              <a:ext uri="{FF2B5EF4-FFF2-40B4-BE49-F238E27FC236}">
                <a16:creationId xmlns:a16="http://schemas.microsoft.com/office/drawing/2014/main" id="{4BAA93C5-308E-A007-113A-B5C8467384B7}"/>
              </a:ext>
            </a:extLst>
          </p:cNvPr>
          <p:cNvSpPr>
            <a:spLocks/>
          </p:cNvSpPr>
          <p:nvPr/>
        </p:nvSpPr>
        <p:spPr>
          <a:xfrm>
            <a:off x="8858027" y="2311315"/>
            <a:ext cx="4028843" cy="4672014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10" name="Google Shape;831;p25">
            <a:extLst>
              <a:ext uri="{FF2B5EF4-FFF2-40B4-BE49-F238E27FC236}">
                <a16:creationId xmlns:a16="http://schemas.microsoft.com/office/drawing/2014/main" id="{A0F3F831-A8B3-37F3-2E13-D75807978594}"/>
              </a:ext>
            </a:extLst>
          </p:cNvPr>
          <p:cNvSpPr>
            <a:spLocks/>
          </p:cNvSpPr>
          <p:nvPr/>
        </p:nvSpPr>
        <p:spPr>
          <a:xfrm>
            <a:off x="4704526" y="2311315"/>
            <a:ext cx="4028843" cy="4672014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914406">
              <a:lnSpc>
                <a:spcPct val="130769"/>
              </a:lnSpc>
              <a:buClr>
                <a:srgbClr val="00B9FF"/>
              </a:buClr>
              <a:buSzPts val="1300"/>
            </a:pPr>
            <a:endParaRPr dirty="0">
              <a:ea typeface="+mn-ea"/>
            </a:endParaRPr>
          </a:p>
        </p:txBody>
      </p:sp>
      <p:sp>
        <p:nvSpPr>
          <p:cNvPr id="11" name="Google Shape;563;p30">
            <a:extLst>
              <a:ext uri="{FF2B5EF4-FFF2-40B4-BE49-F238E27FC236}">
                <a16:creationId xmlns:a16="http://schemas.microsoft.com/office/drawing/2014/main" id="{774AD125-EE4E-CA2E-479B-E3DEF47E72E6}"/>
              </a:ext>
            </a:extLst>
          </p:cNvPr>
          <p:cNvSpPr txBox="1">
            <a:spLocks/>
          </p:cNvSpPr>
          <p:nvPr/>
        </p:nvSpPr>
        <p:spPr>
          <a:xfrm>
            <a:off x="9014011" y="2733336"/>
            <a:ext cx="3761912" cy="4029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marL="285751" lvl="3" indent="-285751" defTabSz="914406">
              <a:lnSpc>
                <a:spcPts val="2000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601" b="1" dirty="0">
              <a:solidFill>
                <a:srgbClr val="0F47F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User friendly Web Scraping Tool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The client received a user-friendly web scraping tool equipped with a user interface, enabling tailored requesting.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endParaRPr lang="en-US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1" lvl="3" indent="-285751" defTabSz="914406">
              <a:lnSpc>
                <a:spcPts val="2000"/>
              </a:lnSpc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Expanded Data Extraction Capabilities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Datasets were created from the e-commerce platform across various cities and categories, enhancing data extraction capabilities.</a:t>
            </a:r>
          </a:p>
          <a:p>
            <a:pPr marL="285751" lvl="3" indent="-285751" defTabSz="914406">
              <a:lnSpc>
                <a:spcPts val="2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1" b="1" dirty="0">
                <a:solidFill>
                  <a:schemeClr val="accent1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ime and Resource Savings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The client achieved significant time efficiency in the data collection process, resulting in resource savings.</a:t>
            </a:r>
          </a:p>
          <a:p>
            <a:pPr marL="173737" indent="-173737" defTabSz="914406">
              <a:lnSpc>
                <a:spcPts val="1800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lnSpc>
                <a:spcPts val="1800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lnSpc>
                <a:spcPts val="1800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lnSpc>
                <a:spcPts val="1800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7" indent="-173737" defTabSz="914406">
              <a:lnSpc>
                <a:spcPts val="1800"/>
              </a:lnSpc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543;p30">
            <a:extLst>
              <a:ext uri="{FF2B5EF4-FFF2-40B4-BE49-F238E27FC236}">
                <a16:creationId xmlns:a16="http://schemas.microsoft.com/office/drawing/2014/main" id="{623E9CDE-389C-AC3E-0413-2E079F26F6B7}"/>
              </a:ext>
            </a:extLst>
          </p:cNvPr>
          <p:cNvSpPr txBox="1">
            <a:spLocks/>
          </p:cNvSpPr>
          <p:nvPr/>
        </p:nvSpPr>
        <p:spPr>
          <a:xfrm>
            <a:off x="801454" y="2733336"/>
            <a:ext cx="3672114" cy="18466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4406">
              <a:lnSpc>
                <a:spcPts val="1800"/>
              </a:lnSpc>
            </a:pP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analyze the secondhand automobile market in Morocco the client needed access to relevant and accurate data. </a:t>
            </a:r>
          </a:p>
          <a:p>
            <a:pPr defTabSz="914406">
              <a:lnSpc>
                <a:spcPts val="1800"/>
              </a:lnSpc>
            </a:pPr>
            <a:endParaRPr lang="en-US"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</a:pP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client chose to use data of the country’s leading </a:t>
            </a:r>
            <a:r>
              <a:rPr lang="en-US" sz="1601" dirty="0" err="1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2C</a:t>
            </a:r>
            <a:r>
              <a:rPr lang="en-US" sz="1601" dirty="0">
                <a:solidFill>
                  <a:srgbClr val="444444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e-commerce platform.</a:t>
            </a:r>
          </a:p>
          <a:p>
            <a:pPr defTabSz="914406">
              <a:lnSpc>
                <a:spcPts val="1800"/>
              </a:lnSpc>
            </a:pPr>
            <a:endParaRPr lang="en-US"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</a:pPr>
            <a:r>
              <a:rPr lang="en-US" sz="1601" dirty="0"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  <a:endParaRPr lang="en-US" sz="1601" dirty="0">
              <a:solidFill>
                <a:srgbClr val="444444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565;p30">
            <a:extLst>
              <a:ext uri="{FF2B5EF4-FFF2-40B4-BE49-F238E27FC236}">
                <a16:creationId xmlns:a16="http://schemas.microsoft.com/office/drawing/2014/main" id="{7A6AC40E-0552-398A-D202-6FAF5E960267}"/>
              </a:ext>
            </a:extLst>
          </p:cNvPr>
          <p:cNvSpPr txBox="1">
            <a:spLocks/>
          </p:cNvSpPr>
          <p:nvPr/>
        </p:nvSpPr>
        <p:spPr>
          <a:xfrm>
            <a:off x="4842673" y="2733335"/>
            <a:ext cx="3778414" cy="721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>
              <a:lnSpc>
                <a:spcPts val="1800"/>
              </a:lnSpc>
            </a:pPr>
            <a:r>
              <a:rPr lang="en-US" sz="1601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nfomineo’ s Data Analytics team addressed the client’s challenges by developing :</a:t>
            </a:r>
          </a:p>
        </p:txBody>
      </p:sp>
      <p:sp>
        <p:nvSpPr>
          <p:cNvPr id="14" name="Google Shape;540;p30">
            <a:extLst>
              <a:ext uri="{FF2B5EF4-FFF2-40B4-BE49-F238E27FC236}">
                <a16:creationId xmlns:a16="http://schemas.microsoft.com/office/drawing/2014/main" id="{B2AE7E99-5152-2E43-E2A1-5244A380D08C}"/>
              </a:ext>
            </a:extLst>
          </p:cNvPr>
          <p:cNvSpPr>
            <a:spLocks/>
          </p:cNvSpPr>
          <p:nvPr/>
        </p:nvSpPr>
        <p:spPr>
          <a:xfrm>
            <a:off x="8847209" y="1860636"/>
            <a:ext cx="4028843" cy="786902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Google Shape;545;p30">
            <a:extLst>
              <a:ext uri="{FF2B5EF4-FFF2-40B4-BE49-F238E27FC236}">
                <a16:creationId xmlns:a16="http://schemas.microsoft.com/office/drawing/2014/main" id="{DE14FC74-4454-A0A2-3631-8F1ABE5F08E4}"/>
              </a:ext>
            </a:extLst>
          </p:cNvPr>
          <p:cNvSpPr>
            <a:spLocks/>
          </p:cNvSpPr>
          <p:nvPr/>
        </p:nvSpPr>
        <p:spPr>
          <a:xfrm>
            <a:off x="551025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0DE3B1A-0309-7790-11AB-E1A2BDE6DD4B}"/>
              </a:ext>
            </a:extLst>
          </p:cNvPr>
          <p:cNvGrpSpPr/>
          <p:nvPr/>
        </p:nvGrpSpPr>
        <p:grpSpPr>
          <a:xfrm>
            <a:off x="3820789" y="1925517"/>
            <a:ext cx="652780" cy="654038"/>
            <a:chOff x="3416568" y="1395569"/>
            <a:chExt cx="955760" cy="957600"/>
          </a:xfrm>
        </p:grpSpPr>
        <p:sp>
          <p:nvSpPr>
            <p:cNvPr id="19" name="Google Shape;551;p30">
              <a:extLst>
                <a:ext uri="{FF2B5EF4-FFF2-40B4-BE49-F238E27FC236}">
                  <a16:creationId xmlns:a16="http://schemas.microsoft.com/office/drawing/2014/main" id="{09DAD9EB-FACD-11F1-81A0-91BECBBB7ABE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20" name="Google Shape;552;p30">
              <a:extLst>
                <a:ext uri="{FF2B5EF4-FFF2-40B4-BE49-F238E27FC236}">
                  <a16:creationId xmlns:a16="http://schemas.microsoft.com/office/drawing/2014/main" id="{2ADA25A6-55BB-375C-3FBC-0D3A1967BAA7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" name="Google Shape;566;p30">
            <a:extLst>
              <a:ext uri="{FF2B5EF4-FFF2-40B4-BE49-F238E27FC236}">
                <a16:creationId xmlns:a16="http://schemas.microsoft.com/office/drawing/2014/main" id="{CFF90EF1-108A-552A-987E-AAB081B8A93D}"/>
              </a:ext>
            </a:extLst>
          </p:cNvPr>
          <p:cNvSpPr>
            <a:spLocks/>
          </p:cNvSpPr>
          <p:nvPr/>
        </p:nvSpPr>
        <p:spPr>
          <a:xfrm>
            <a:off x="4699117" y="185742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endParaRPr sz="1543" b="1" kern="12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58CF39B-A9E8-096B-A98F-6B8BDC120665}"/>
              </a:ext>
            </a:extLst>
          </p:cNvPr>
          <p:cNvGrpSpPr/>
          <p:nvPr/>
        </p:nvGrpSpPr>
        <p:grpSpPr>
          <a:xfrm>
            <a:off x="7962149" y="1925517"/>
            <a:ext cx="652780" cy="654038"/>
            <a:chOff x="7762572" y="1395569"/>
            <a:chExt cx="955760" cy="957600"/>
          </a:xfrm>
        </p:grpSpPr>
        <p:sp>
          <p:nvSpPr>
            <p:cNvPr id="24" name="Google Shape;568;p30">
              <a:extLst>
                <a:ext uri="{FF2B5EF4-FFF2-40B4-BE49-F238E27FC236}">
                  <a16:creationId xmlns:a16="http://schemas.microsoft.com/office/drawing/2014/main" id="{B888F0DF-C8E7-C5C4-4B74-B13C37E69855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760">
                <a:solidFill>
                  <a:srgbClr val="FFFFFF"/>
                </a:solidFill>
                <a:ea typeface="+mn-ea"/>
              </a:endParaRPr>
            </a:p>
          </p:txBody>
        </p:sp>
        <p:pic>
          <p:nvPicPr>
            <p:cNvPr id="25" name="Google Shape;569;p30">
              <a:extLst>
                <a:ext uri="{FF2B5EF4-FFF2-40B4-BE49-F238E27FC236}">
                  <a16:creationId xmlns:a16="http://schemas.microsoft.com/office/drawing/2014/main" id="{A1410139-8304-D436-8B99-717601F526CA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FB3134A-BF84-6564-36D8-3F0E0D1E8998}"/>
              </a:ext>
            </a:extLst>
          </p:cNvPr>
          <p:cNvGrpSpPr/>
          <p:nvPr/>
        </p:nvGrpSpPr>
        <p:grpSpPr>
          <a:xfrm>
            <a:off x="12123143" y="1925517"/>
            <a:ext cx="652780" cy="654038"/>
            <a:chOff x="12019931" y="1366765"/>
            <a:chExt cx="955760" cy="957600"/>
          </a:xfrm>
        </p:grpSpPr>
        <p:sp>
          <p:nvSpPr>
            <p:cNvPr id="27" name="Google Shape;583;p30">
              <a:extLst>
                <a:ext uri="{FF2B5EF4-FFF2-40B4-BE49-F238E27FC236}">
                  <a16:creationId xmlns:a16="http://schemas.microsoft.com/office/drawing/2014/main" id="{D3CC03A4-60C0-F0F8-DFCA-32F9B9F64F55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914406"/>
              <a:endParaRPr sz="1544">
                <a:solidFill>
                  <a:srgbClr val="FFFFFF"/>
                </a:solidFill>
                <a:highlight>
                  <a:srgbClr val="FFFF00"/>
                </a:highlight>
                <a:ea typeface="+mn-ea"/>
              </a:endParaRPr>
            </a:p>
          </p:txBody>
        </p:sp>
        <p:grpSp>
          <p:nvGrpSpPr>
            <p:cNvPr id="28" name="Google Shape;584;p30">
              <a:extLst>
                <a:ext uri="{FF2B5EF4-FFF2-40B4-BE49-F238E27FC236}">
                  <a16:creationId xmlns:a16="http://schemas.microsoft.com/office/drawing/2014/main" id="{4DDEBE46-120B-C78E-737B-72E758847E55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29" name="Google Shape;585;p30">
                <a:extLst>
                  <a:ext uri="{FF2B5EF4-FFF2-40B4-BE49-F238E27FC236}">
                    <a16:creationId xmlns:a16="http://schemas.microsoft.com/office/drawing/2014/main" id="{37CF0385-F04F-6170-5C0E-9A692BB40773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" name="Google Shape;586;p30">
                <a:extLst>
                  <a:ext uri="{FF2B5EF4-FFF2-40B4-BE49-F238E27FC236}">
                    <a16:creationId xmlns:a16="http://schemas.microsoft.com/office/drawing/2014/main" id="{CC271DE2-2D86-0B4A-591F-DD3BD6AE75F1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t" anchorCtr="0">
                <a:noAutofit/>
              </a:bodyPr>
              <a:lstStyle/>
              <a:p>
                <a:pPr defTabSz="914406"/>
                <a:endParaRPr sz="1985">
                  <a:solidFill>
                    <a:srgbClr val="444444"/>
                  </a:solidFill>
                  <a:highlight>
                    <a:srgbClr val="FFFF00"/>
                  </a:highligh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" name="Google Shape;574;p30">
            <a:extLst>
              <a:ext uri="{FF2B5EF4-FFF2-40B4-BE49-F238E27FC236}">
                <a16:creationId xmlns:a16="http://schemas.microsoft.com/office/drawing/2014/main" id="{288B7B49-D940-EE65-AFD5-45D2FC972FEC}"/>
              </a:ext>
            </a:extLst>
          </p:cNvPr>
          <p:cNvSpPr txBox="1">
            <a:spLocks/>
          </p:cNvSpPr>
          <p:nvPr/>
        </p:nvSpPr>
        <p:spPr>
          <a:xfrm>
            <a:off x="4986864" y="3398524"/>
            <a:ext cx="3658783" cy="34964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6">
              <a:lnSpc>
                <a:spcPts val="1800"/>
              </a:lnSpc>
              <a:buClrTx/>
              <a:buSzPct val="100000"/>
            </a:pPr>
            <a:r>
              <a:rPr lang="en-US" sz="1601" b="1" dirty="0">
                <a:solidFill>
                  <a:schemeClr val="bg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rehensive Data Collection Strategy</a:t>
            </a:r>
            <a:endParaRPr lang="en-US" b="1" dirty="0">
              <a:solidFill>
                <a:schemeClr val="bg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Establishing a robust data collection framework and implementing efficient methodologies to gather the required data.</a:t>
            </a:r>
          </a:p>
          <a:p>
            <a:pPr marL="173737" indent="-173737" defTabSz="914406">
              <a:lnSpc>
                <a:spcPts val="1800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  <a:buClrTx/>
              <a:buSzPct val="100000"/>
            </a:pPr>
            <a:r>
              <a:rPr lang="en-US" sz="1601" b="1" dirty="0">
                <a:solidFill>
                  <a:schemeClr val="bg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User-Centric Interface Design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Crafting a user-friendly graphical user interface (GUI) that simplified the data collection process for the client</a:t>
            </a:r>
          </a:p>
          <a:p>
            <a:pPr marL="173737" indent="-173737" defTabSz="914406">
              <a:lnSpc>
                <a:spcPts val="1800"/>
              </a:lnSpc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</a:pPr>
            <a:endParaRPr lang="en-US" sz="1601" dirty="0">
              <a:solidFill>
                <a:schemeClr val="bg2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defTabSz="914406">
              <a:lnSpc>
                <a:spcPts val="1800"/>
              </a:lnSpc>
              <a:buClrTx/>
              <a:buSzPct val="100000"/>
            </a:pPr>
            <a:r>
              <a:rPr lang="en-US" sz="1601" b="1" dirty="0">
                <a:solidFill>
                  <a:schemeClr val="bg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ata Quality Assurance</a:t>
            </a:r>
          </a:p>
          <a:p>
            <a:pPr defTabSz="914406">
              <a:lnSpc>
                <a:spcPts val="1800"/>
              </a:lnSpc>
              <a:buClr>
                <a:srgbClr val="00B9FF"/>
              </a:buClr>
              <a:buSzPct val="100000"/>
            </a:pPr>
            <a:r>
              <a:rPr lang="en-US" dirty="0">
                <a:latin typeface="Calibri" panose="020F0502020204030204"/>
                <a:ea typeface="Calibri"/>
                <a:cs typeface="Calibri"/>
                <a:sym typeface="Calibri"/>
              </a:rPr>
              <a:t>Implementing rigorous cleaning and preprocessing techniques to ensure the integrity and reliability of the collected data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A11EE3D-44AE-4AA2-06D3-819C5D978E6F}"/>
              </a:ext>
            </a:extLst>
          </p:cNvPr>
          <p:cNvGrpSpPr/>
          <p:nvPr/>
        </p:nvGrpSpPr>
        <p:grpSpPr>
          <a:xfrm>
            <a:off x="858223" y="4911103"/>
            <a:ext cx="3414447" cy="867873"/>
            <a:chOff x="803725" y="4920772"/>
            <a:chExt cx="3414536" cy="867896"/>
          </a:xfrm>
        </p:grpSpPr>
        <p:sp>
          <p:nvSpPr>
            <p:cNvPr id="34" name="Google Shape;561;p30">
              <a:extLst>
                <a:ext uri="{FF2B5EF4-FFF2-40B4-BE49-F238E27FC236}">
                  <a16:creationId xmlns:a16="http://schemas.microsoft.com/office/drawing/2014/main" id="{1CD9C9B4-265E-2982-A1E5-282D4D7CD76F}"/>
                </a:ext>
              </a:extLst>
            </p:cNvPr>
            <p:cNvSpPr txBox="1">
              <a:spLocks/>
            </p:cNvSpPr>
            <p:nvPr/>
          </p:nvSpPr>
          <p:spPr>
            <a:xfrm>
              <a:off x="1437182" y="4920772"/>
              <a:ext cx="2781079" cy="86789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914406">
                <a:lnSpc>
                  <a:spcPts val="1800"/>
                </a:lnSpc>
              </a:pPr>
              <a:r>
                <a:rPr lang="en-US" sz="160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An efficient and consistent way to regularly collect data from an e-commerce website</a:t>
              </a:r>
              <a:endParaRPr lang="en-US"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7D721D98-2F3D-BE39-4A33-AF7458DDA7DA}"/>
                </a:ext>
              </a:extLst>
            </p:cNvPr>
            <p:cNvGrpSpPr/>
            <p:nvPr/>
          </p:nvGrpSpPr>
          <p:grpSpPr>
            <a:xfrm>
              <a:off x="803725" y="4920772"/>
              <a:ext cx="503992" cy="503992"/>
              <a:chOff x="803725" y="4811208"/>
              <a:chExt cx="503992" cy="503992"/>
            </a:xfrm>
          </p:grpSpPr>
          <p:sp>
            <p:nvSpPr>
              <p:cNvPr id="36" name="Google Shape;554;p30">
                <a:extLst>
                  <a:ext uri="{FF2B5EF4-FFF2-40B4-BE49-F238E27FC236}">
                    <a16:creationId xmlns:a16="http://schemas.microsoft.com/office/drawing/2014/main" id="{AE1A80AB-92C3-FEBF-8029-F670F717BF21}"/>
                  </a:ext>
                </a:extLst>
              </p:cNvPr>
              <p:cNvSpPr/>
              <p:nvPr/>
            </p:nvSpPr>
            <p:spPr>
              <a:xfrm>
                <a:off x="803725" y="4811208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>
                  <a:lnSpc>
                    <a:spcPts val="1800"/>
                  </a:lnSpc>
                </a:pPr>
                <a:endParaRPr sz="1601" dirty="0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83AA069D-3D80-73AB-0884-9E5A8379FED1}"/>
                  </a:ext>
                </a:extLst>
              </p:cNvPr>
              <p:cNvSpPr>
                <a:spLocks/>
              </p:cNvSpPr>
              <p:nvPr/>
            </p:nvSpPr>
            <p:spPr bwMode="auto">
              <a:xfrm rot="4742745">
                <a:off x="872239" y="4916586"/>
                <a:ext cx="376479" cy="259422"/>
              </a:xfrm>
              <a:custGeom>
                <a:avLst/>
                <a:gdLst/>
                <a:ahLst/>
                <a:cxnLst>
                  <a:cxn ang="0">
                    <a:pos x="12" y="486"/>
                  </a:cxn>
                  <a:cxn ang="0">
                    <a:pos x="36" y="474"/>
                  </a:cxn>
                  <a:cxn ang="0">
                    <a:pos x="78" y="462"/>
                  </a:cxn>
                  <a:cxn ang="0">
                    <a:pos x="114" y="444"/>
                  </a:cxn>
                  <a:cxn ang="0">
                    <a:pos x="180" y="396"/>
                  </a:cxn>
                  <a:cxn ang="0">
                    <a:pos x="204" y="354"/>
                  </a:cxn>
                  <a:cxn ang="0">
                    <a:pos x="210" y="324"/>
                  </a:cxn>
                  <a:cxn ang="0">
                    <a:pos x="198" y="312"/>
                  </a:cxn>
                  <a:cxn ang="0">
                    <a:pos x="204" y="276"/>
                  </a:cxn>
                  <a:cxn ang="0">
                    <a:pos x="210" y="258"/>
                  </a:cxn>
                  <a:cxn ang="0">
                    <a:pos x="234" y="222"/>
                  </a:cxn>
                  <a:cxn ang="0">
                    <a:pos x="240" y="204"/>
                  </a:cxn>
                  <a:cxn ang="0">
                    <a:pos x="252" y="186"/>
                  </a:cxn>
                  <a:cxn ang="0">
                    <a:pos x="270" y="174"/>
                  </a:cxn>
                  <a:cxn ang="0">
                    <a:pos x="282" y="162"/>
                  </a:cxn>
                  <a:cxn ang="0">
                    <a:pos x="312" y="144"/>
                  </a:cxn>
                  <a:cxn ang="0">
                    <a:pos x="342" y="132"/>
                  </a:cxn>
                  <a:cxn ang="0">
                    <a:pos x="360" y="126"/>
                  </a:cxn>
                  <a:cxn ang="0">
                    <a:pos x="384" y="108"/>
                  </a:cxn>
                  <a:cxn ang="0">
                    <a:pos x="396" y="90"/>
                  </a:cxn>
                  <a:cxn ang="0">
                    <a:pos x="414" y="48"/>
                  </a:cxn>
                  <a:cxn ang="0">
                    <a:pos x="438" y="6"/>
                  </a:cxn>
                  <a:cxn ang="0">
                    <a:pos x="456" y="0"/>
                  </a:cxn>
                  <a:cxn ang="0">
                    <a:pos x="468" y="12"/>
                  </a:cxn>
                  <a:cxn ang="0">
                    <a:pos x="480" y="30"/>
                  </a:cxn>
                  <a:cxn ang="0">
                    <a:pos x="504" y="42"/>
                  </a:cxn>
                  <a:cxn ang="0">
                    <a:pos x="546" y="42"/>
                  </a:cxn>
                  <a:cxn ang="0">
                    <a:pos x="570" y="42"/>
                  </a:cxn>
                  <a:cxn ang="0">
                    <a:pos x="594" y="36"/>
                  </a:cxn>
                  <a:cxn ang="0">
                    <a:pos x="606" y="36"/>
                  </a:cxn>
                  <a:cxn ang="0">
                    <a:pos x="618" y="48"/>
                  </a:cxn>
                  <a:cxn ang="0">
                    <a:pos x="642" y="48"/>
                  </a:cxn>
                  <a:cxn ang="0">
                    <a:pos x="660" y="60"/>
                  </a:cxn>
                  <a:cxn ang="0">
                    <a:pos x="672" y="72"/>
                  </a:cxn>
                  <a:cxn ang="0">
                    <a:pos x="666" y="90"/>
                  </a:cxn>
                  <a:cxn ang="0">
                    <a:pos x="672" y="132"/>
                  </a:cxn>
                  <a:cxn ang="0">
                    <a:pos x="678" y="156"/>
                  </a:cxn>
                  <a:cxn ang="0">
                    <a:pos x="684" y="180"/>
                  </a:cxn>
                  <a:cxn ang="0">
                    <a:pos x="708" y="210"/>
                  </a:cxn>
                  <a:cxn ang="0">
                    <a:pos x="702" y="216"/>
                  </a:cxn>
                  <a:cxn ang="0">
                    <a:pos x="702" y="228"/>
                  </a:cxn>
                  <a:cxn ang="0">
                    <a:pos x="666" y="228"/>
                  </a:cxn>
                  <a:cxn ang="0">
                    <a:pos x="606" y="228"/>
                  </a:cxn>
                  <a:cxn ang="0">
                    <a:pos x="606" y="246"/>
                  </a:cxn>
                  <a:cxn ang="0">
                    <a:pos x="558" y="264"/>
                  </a:cxn>
                  <a:cxn ang="0">
                    <a:pos x="552" y="282"/>
                  </a:cxn>
                  <a:cxn ang="0">
                    <a:pos x="564" y="294"/>
                  </a:cxn>
                  <a:cxn ang="0">
                    <a:pos x="552" y="300"/>
                  </a:cxn>
                  <a:cxn ang="0">
                    <a:pos x="528" y="312"/>
                  </a:cxn>
                  <a:cxn ang="0">
                    <a:pos x="492" y="318"/>
                  </a:cxn>
                  <a:cxn ang="0">
                    <a:pos x="474" y="354"/>
                  </a:cxn>
                  <a:cxn ang="0">
                    <a:pos x="432" y="366"/>
                  </a:cxn>
                  <a:cxn ang="0">
                    <a:pos x="396" y="372"/>
                  </a:cxn>
                  <a:cxn ang="0">
                    <a:pos x="378" y="378"/>
                  </a:cxn>
                  <a:cxn ang="0">
                    <a:pos x="348" y="378"/>
                  </a:cxn>
                  <a:cxn ang="0">
                    <a:pos x="324" y="396"/>
                  </a:cxn>
                  <a:cxn ang="0">
                    <a:pos x="300" y="414"/>
                  </a:cxn>
                  <a:cxn ang="0">
                    <a:pos x="264" y="432"/>
                  </a:cxn>
                </a:cxnLst>
                <a:rect l="0" t="0" r="r" b="b"/>
                <a:pathLst>
                  <a:path w="714" h="492">
                    <a:moveTo>
                      <a:pt x="0" y="492"/>
                    </a:moveTo>
                    <a:lnTo>
                      <a:pt x="6" y="492"/>
                    </a:lnTo>
                    <a:lnTo>
                      <a:pt x="12" y="486"/>
                    </a:lnTo>
                    <a:lnTo>
                      <a:pt x="18" y="480"/>
                    </a:lnTo>
                    <a:lnTo>
                      <a:pt x="18" y="474"/>
                    </a:lnTo>
                    <a:lnTo>
                      <a:pt x="36" y="474"/>
                    </a:lnTo>
                    <a:lnTo>
                      <a:pt x="60" y="468"/>
                    </a:lnTo>
                    <a:lnTo>
                      <a:pt x="66" y="468"/>
                    </a:lnTo>
                    <a:lnTo>
                      <a:pt x="78" y="462"/>
                    </a:lnTo>
                    <a:lnTo>
                      <a:pt x="102" y="456"/>
                    </a:lnTo>
                    <a:lnTo>
                      <a:pt x="102" y="450"/>
                    </a:lnTo>
                    <a:lnTo>
                      <a:pt x="114" y="444"/>
                    </a:lnTo>
                    <a:lnTo>
                      <a:pt x="126" y="432"/>
                    </a:lnTo>
                    <a:lnTo>
                      <a:pt x="156" y="414"/>
                    </a:lnTo>
                    <a:lnTo>
                      <a:pt x="180" y="396"/>
                    </a:lnTo>
                    <a:lnTo>
                      <a:pt x="192" y="372"/>
                    </a:lnTo>
                    <a:lnTo>
                      <a:pt x="204" y="360"/>
                    </a:lnTo>
                    <a:lnTo>
                      <a:pt x="204" y="354"/>
                    </a:lnTo>
                    <a:lnTo>
                      <a:pt x="210" y="342"/>
                    </a:lnTo>
                    <a:lnTo>
                      <a:pt x="216" y="330"/>
                    </a:lnTo>
                    <a:lnTo>
                      <a:pt x="210" y="324"/>
                    </a:lnTo>
                    <a:lnTo>
                      <a:pt x="204" y="318"/>
                    </a:lnTo>
                    <a:lnTo>
                      <a:pt x="198" y="318"/>
                    </a:lnTo>
                    <a:lnTo>
                      <a:pt x="198" y="312"/>
                    </a:lnTo>
                    <a:lnTo>
                      <a:pt x="204" y="306"/>
                    </a:lnTo>
                    <a:lnTo>
                      <a:pt x="198" y="288"/>
                    </a:lnTo>
                    <a:lnTo>
                      <a:pt x="204" y="276"/>
                    </a:lnTo>
                    <a:lnTo>
                      <a:pt x="198" y="270"/>
                    </a:lnTo>
                    <a:lnTo>
                      <a:pt x="204" y="264"/>
                    </a:lnTo>
                    <a:lnTo>
                      <a:pt x="210" y="258"/>
                    </a:lnTo>
                    <a:lnTo>
                      <a:pt x="210" y="252"/>
                    </a:lnTo>
                    <a:lnTo>
                      <a:pt x="228" y="234"/>
                    </a:lnTo>
                    <a:lnTo>
                      <a:pt x="234" y="222"/>
                    </a:lnTo>
                    <a:lnTo>
                      <a:pt x="234" y="216"/>
                    </a:lnTo>
                    <a:lnTo>
                      <a:pt x="234" y="210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46" y="198"/>
                    </a:lnTo>
                    <a:lnTo>
                      <a:pt x="252" y="186"/>
                    </a:lnTo>
                    <a:lnTo>
                      <a:pt x="258" y="186"/>
                    </a:lnTo>
                    <a:lnTo>
                      <a:pt x="264" y="180"/>
                    </a:lnTo>
                    <a:lnTo>
                      <a:pt x="270" y="174"/>
                    </a:lnTo>
                    <a:lnTo>
                      <a:pt x="276" y="168"/>
                    </a:lnTo>
                    <a:lnTo>
                      <a:pt x="276" y="162"/>
                    </a:lnTo>
                    <a:lnTo>
                      <a:pt x="282" y="162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44"/>
                    </a:lnTo>
                    <a:lnTo>
                      <a:pt x="330" y="138"/>
                    </a:lnTo>
                    <a:lnTo>
                      <a:pt x="336" y="138"/>
                    </a:lnTo>
                    <a:lnTo>
                      <a:pt x="342" y="132"/>
                    </a:lnTo>
                    <a:lnTo>
                      <a:pt x="348" y="132"/>
                    </a:lnTo>
                    <a:lnTo>
                      <a:pt x="354" y="126"/>
                    </a:lnTo>
                    <a:lnTo>
                      <a:pt x="360" y="126"/>
                    </a:lnTo>
                    <a:lnTo>
                      <a:pt x="366" y="120"/>
                    </a:lnTo>
                    <a:lnTo>
                      <a:pt x="378" y="114"/>
                    </a:lnTo>
                    <a:lnTo>
                      <a:pt x="384" y="108"/>
                    </a:lnTo>
                    <a:lnTo>
                      <a:pt x="390" y="102"/>
                    </a:lnTo>
                    <a:lnTo>
                      <a:pt x="390" y="96"/>
                    </a:lnTo>
                    <a:lnTo>
                      <a:pt x="396" y="90"/>
                    </a:lnTo>
                    <a:lnTo>
                      <a:pt x="402" y="84"/>
                    </a:lnTo>
                    <a:lnTo>
                      <a:pt x="408" y="60"/>
                    </a:lnTo>
                    <a:lnTo>
                      <a:pt x="414" y="48"/>
                    </a:lnTo>
                    <a:lnTo>
                      <a:pt x="420" y="42"/>
                    </a:lnTo>
                    <a:lnTo>
                      <a:pt x="432" y="6"/>
                    </a:lnTo>
                    <a:lnTo>
                      <a:pt x="438" y="6"/>
                    </a:lnTo>
                    <a:lnTo>
                      <a:pt x="444" y="6"/>
                    </a:lnTo>
                    <a:lnTo>
                      <a:pt x="450" y="6"/>
                    </a:lnTo>
                    <a:lnTo>
                      <a:pt x="456" y="0"/>
                    </a:lnTo>
                    <a:lnTo>
                      <a:pt x="462" y="0"/>
                    </a:lnTo>
                    <a:lnTo>
                      <a:pt x="468" y="6"/>
                    </a:lnTo>
                    <a:lnTo>
                      <a:pt x="468" y="12"/>
                    </a:lnTo>
                    <a:lnTo>
                      <a:pt x="468" y="24"/>
                    </a:lnTo>
                    <a:lnTo>
                      <a:pt x="474" y="24"/>
                    </a:lnTo>
                    <a:lnTo>
                      <a:pt x="480" y="30"/>
                    </a:lnTo>
                    <a:lnTo>
                      <a:pt x="492" y="36"/>
                    </a:lnTo>
                    <a:lnTo>
                      <a:pt x="498" y="42"/>
                    </a:lnTo>
                    <a:lnTo>
                      <a:pt x="504" y="42"/>
                    </a:lnTo>
                    <a:lnTo>
                      <a:pt x="522" y="48"/>
                    </a:lnTo>
                    <a:lnTo>
                      <a:pt x="540" y="42"/>
                    </a:lnTo>
                    <a:lnTo>
                      <a:pt x="546" y="42"/>
                    </a:lnTo>
                    <a:lnTo>
                      <a:pt x="552" y="42"/>
                    </a:lnTo>
                    <a:lnTo>
                      <a:pt x="558" y="36"/>
                    </a:lnTo>
                    <a:lnTo>
                      <a:pt x="570" y="42"/>
                    </a:lnTo>
                    <a:lnTo>
                      <a:pt x="582" y="42"/>
                    </a:lnTo>
                    <a:lnTo>
                      <a:pt x="588" y="42"/>
                    </a:lnTo>
                    <a:lnTo>
                      <a:pt x="594" y="36"/>
                    </a:lnTo>
                    <a:lnTo>
                      <a:pt x="600" y="30"/>
                    </a:lnTo>
                    <a:lnTo>
                      <a:pt x="600" y="36"/>
                    </a:lnTo>
                    <a:lnTo>
                      <a:pt x="606" y="36"/>
                    </a:lnTo>
                    <a:lnTo>
                      <a:pt x="606" y="42"/>
                    </a:lnTo>
                    <a:lnTo>
                      <a:pt x="612" y="48"/>
                    </a:lnTo>
                    <a:lnTo>
                      <a:pt x="618" y="48"/>
                    </a:lnTo>
                    <a:lnTo>
                      <a:pt x="624" y="48"/>
                    </a:lnTo>
                    <a:lnTo>
                      <a:pt x="630" y="48"/>
                    </a:lnTo>
                    <a:lnTo>
                      <a:pt x="642" y="48"/>
                    </a:lnTo>
                    <a:lnTo>
                      <a:pt x="642" y="54"/>
                    </a:lnTo>
                    <a:lnTo>
                      <a:pt x="654" y="60"/>
                    </a:lnTo>
                    <a:lnTo>
                      <a:pt x="660" y="60"/>
                    </a:lnTo>
                    <a:lnTo>
                      <a:pt x="660" y="66"/>
                    </a:lnTo>
                    <a:lnTo>
                      <a:pt x="666" y="66"/>
                    </a:lnTo>
                    <a:lnTo>
                      <a:pt x="672" y="72"/>
                    </a:lnTo>
                    <a:lnTo>
                      <a:pt x="666" y="78"/>
                    </a:lnTo>
                    <a:lnTo>
                      <a:pt x="672" y="84"/>
                    </a:lnTo>
                    <a:lnTo>
                      <a:pt x="666" y="90"/>
                    </a:lnTo>
                    <a:lnTo>
                      <a:pt x="678" y="108"/>
                    </a:lnTo>
                    <a:lnTo>
                      <a:pt x="672" y="126"/>
                    </a:lnTo>
                    <a:lnTo>
                      <a:pt x="672" y="132"/>
                    </a:lnTo>
                    <a:lnTo>
                      <a:pt x="678" y="138"/>
                    </a:lnTo>
                    <a:lnTo>
                      <a:pt x="678" y="144"/>
                    </a:lnTo>
                    <a:lnTo>
                      <a:pt x="678" y="156"/>
                    </a:lnTo>
                    <a:lnTo>
                      <a:pt x="678" y="162"/>
                    </a:lnTo>
                    <a:lnTo>
                      <a:pt x="684" y="174"/>
                    </a:lnTo>
                    <a:lnTo>
                      <a:pt x="684" y="180"/>
                    </a:lnTo>
                    <a:lnTo>
                      <a:pt x="690" y="192"/>
                    </a:lnTo>
                    <a:lnTo>
                      <a:pt x="714" y="204"/>
                    </a:lnTo>
                    <a:lnTo>
                      <a:pt x="708" y="210"/>
                    </a:lnTo>
                    <a:lnTo>
                      <a:pt x="702" y="210"/>
                    </a:lnTo>
                    <a:lnTo>
                      <a:pt x="696" y="216"/>
                    </a:lnTo>
                    <a:lnTo>
                      <a:pt x="702" y="216"/>
                    </a:lnTo>
                    <a:lnTo>
                      <a:pt x="696" y="222"/>
                    </a:lnTo>
                    <a:lnTo>
                      <a:pt x="702" y="222"/>
                    </a:lnTo>
                    <a:lnTo>
                      <a:pt x="702" y="228"/>
                    </a:lnTo>
                    <a:lnTo>
                      <a:pt x="696" y="228"/>
                    </a:lnTo>
                    <a:lnTo>
                      <a:pt x="684" y="228"/>
                    </a:lnTo>
                    <a:lnTo>
                      <a:pt x="666" y="228"/>
                    </a:lnTo>
                    <a:lnTo>
                      <a:pt x="636" y="222"/>
                    </a:lnTo>
                    <a:lnTo>
                      <a:pt x="612" y="228"/>
                    </a:lnTo>
                    <a:lnTo>
                      <a:pt x="606" y="228"/>
                    </a:lnTo>
                    <a:lnTo>
                      <a:pt x="600" y="234"/>
                    </a:lnTo>
                    <a:lnTo>
                      <a:pt x="606" y="240"/>
                    </a:lnTo>
                    <a:lnTo>
                      <a:pt x="606" y="246"/>
                    </a:lnTo>
                    <a:lnTo>
                      <a:pt x="606" y="252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58" y="270"/>
                    </a:lnTo>
                    <a:lnTo>
                      <a:pt x="552" y="276"/>
                    </a:lnTo>
                    <a:lnTo>
                      <a:pt x="552" y="282"/>
                    </a:lnTo>
                    <a:lnTo>
                      <a:pt x="552" y="288"/>
                    </a:lnTo>
                    <a:lnTo>
                      <a:pt x="558" y="288"/>
                    </a:lnTo>
                    <a:lnTo>
                      <a:pt x="564" y="294"/>
                    </a:lnTo>
                    <a:lnTo>
                      <a:pt x="564" y="300"/>
                    </a:lnTo>
                    <a:lnTo>
                      <a:pt x="558" y="300"/>
                    </a:lnTo>
                    <a:lnTo>
                      <a:pt x="552" y="300"/>
                    </a:lnTo>
                    <a:lnTo>
                      <a:pt x="546" y="300"/>
                    </a:lnTo>
                    <a:lnTo>
                      <a:pt x="534" y="306"/>
                    </a:lnTo>
                    <a:lnTo>
                      <a:pt x="528" y="312"/>
                    </a:lnTo>
                    <a:lnTo>
                      <a:pt x="516" y="312"/>
                    </a:lnTo>
                    <a:lnTo>
                      <a:pt x="498" y="312"/>
                    </a:lnTo>
                    <a:lnTo>
                      <a:pt x="492" y="318"/>
                    </a:lnTo>
                    <a:lnTo>
                      <a:pt x="480" y="336"/>
                    </a:lnTo>
                    <a:lnTo>
                      <a:pt x="480" y="342"/>
                    </a:lnTo>
                    <a:lnTo>
                      <a:pt x="474" y="354"/>
                    </a:lnTo>
                    <a:lnTo>
                      <a:pt x="450" y="366"/>
                    </a:lnTo>
                    <a:lnTo>
                      <a:pt x="438" y="366"/>
                    </a:lnTo>
                    <a:lnTo>
                      <a:pt x="432" y="366"/>
                    </a:lnTo>
                    <a:lnTo>
                      <a:pt x="420" y="372"/>
                    </a:lnTo>
                    <a:lnTo>
                      <a:pt x="402" y="372"/>
                    </a:lnTo>
                    <a:lnTo>
                      <a:pt x="396" y="372"/>
                    </a:lnTo>
                    <a:lnTo>
                      <a:pt x="390" y="378"/>
                    </a:lnTo>
                    <a:lnTo>
                      <a:pt x="384" y="378"/>
                    </a:lnTo>
                    <a:lnTo>
                      <a:pt x="378" y="378"/>
                    </a:lnTo>
                    <a:lnTo>
                      <a:pt x="366" y="378"/>
                    </a:lnTo>
                    <a:lnTo>
                      <a:pt x="360" y="378"/>
                    </a:lnTo>
                    <a:lnTo>
                      <a:pt x="348" y="378"/>
                    </a:lnTo>
                    <a:lnTo>
                      <a:pt x="336" y="390"/>
                    </a:lnTo>
                    <a:lnTo>
                      <a:pt x="324" y="390"/>
                    </a:lnTo>
                    <a:lnTo>
                      <a:pt x="324" y="396"/>
                    </a:lnTo>
                    <a:lnTo>
                      <a:pt x="318" y="396"/>
                    </a:lnTo>
                    <a:lnTo>
                      <a:pt x="306" y="408"/>
                    </a:lnTo>
                    <a:lnTo>
                      <a:pt x="300" y="414"/>
                    </a:lnTo>
                    <a:lnTo>
                      <a:pt x="282" y="420"/>
                    </a:lnTo>
                    <a:lnTo>
                      <a:pt x="282" y="426"/>
                    </a:lnTo>
                    <a:lnTo>
                      <a:pt x="264" y="432"/>
                    </a:lnTo>
                    <a:lnTo>
                      <a:pt x="264" y="492"/>
                    </a:lnTo>
                    <a:lnTo>
                      <a:pt x="0" y="492"/>
                    </a:lnTo>
                    <a:close/>
                  </a:path>
                </a:pathLst>
              </a:custGeom>
              <a:noFill/>
              <a:ln w="6350" cmpd="sng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vert="horz" wrap="square" lIns="100793" tIns="50397" rIns="100793" bIns="50397" numCol="1" anchor="t" anchorCtr="0" compatLnSpc="1">
                <a:prstTxWarp prst="textNoShape">
                  <a:avLst/>
                </a:prstTxWarp>
              </a:bodyPr>
              <a:lstStyle/>
              <a:p>
                <a:pPr defTabSz="914406">
                  <a:lnSpc>
                    <a:spcPts val="1800"/>
                  </a:lnSpc>
                </a:pPr>
                <a:endParaRPr lang="en-US" sz="1601">
                  <a:latin typeface="Calibri" panose="020F0502020204030204"/>
                  <a:ea typeface="+mn-ea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6574DEA-07CE-36EC-9630-8524FD110C2E}"/>
              </a:ext>
            </a:extLst>
          </p:cNvPr>
          <p:cNvGrpSpPr/>
          <p:nvPr/>
        </p:nvGrpSpPr>
        <p:grpSpPr>
          <a:xfrm>
            <a:off x="858223" y="5979633"/>
            <a:ext cx="3414447" cy="642177"/>
            <a:chOff x="803725" y="5928057"/>
            <a:chExt cx="3414536" cy="642193"/>
          </a:xfrm>
        </p:grpSpPr>
        <p:sp>
          <p:nvSpPr>
            <p:cNvPr id="39" name="Google Shape;562;p30">
              <a:extLst>
                <a:ext uri="{FF2B5EF4-FFF2-40B4-BE49-F238E27FC236}">
                  <a16:creationId xmlns:a16="http://schemas.microsoft.com/office/drawing/2014/main" id="{2A7013BA-0A2D-A4DA-82DC-24805E241672}"/>
                </a:ext>
              </a:extLst>
            </p:cNvPr>
            <p:cNvSpPr txBox="1"/>
            <p:nvPr/>
          </p:nvSpPr>
          <p:spPr>
            <a:xfrm>
              <a:off x="1437182" y="5928057"/>
              <a:ext cx="2781079" cy="6421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anchor="t" anchorCtr="0">
              <a:noAutofit/>
            </a:bodyPr>
            <a:lstStyle/>
            <a:p>
              <a:pPr defTabSz="914406">
                <a:lnSpc>
                  <a:spcPts val="1800"/>
                </a:lnSpc>
              </a:pPr>
              <a:r>
                <a:rPr lang="en-US" sz="1601" dirty="0">
                  <a:solidFill>
                    <a:srgbClr val="444444"/>
                  </a:solidFill>
                  <a:latin typeface="Calibri" panose="020F0502020204030204"/>
                  <a:ea typeface="Calibri"/>
                  <a:cs typeface="Calibri"/>
                  <a:sym typeface="Calibri"/>
                </a:rPr>
                <a:t>Create a database with the data collected daily to avoid bias of unsold items</a:t>
              </a:r>
              <a:endParaRPr lang="en-US" sz="1601" dirty="0"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C46A55DE-BCF2-04E6-05C7-2EE14B93F4E0}"/>
                </a:ext>
              </a:extLst>
            </p:cNvPr>
            <p:cNvGrpSpPr/>
            <p:nvPr/>
          </p:nvGrpSpPr>
          <p:grpSpPr>
            <a:xfrm>
              <a:off x="803725" y="5928057"/>
              <a:ext cx="503992" cy="503992"/>
              <a:chOff x="803725" y="5691182"/>
              <a:chExt cx="503992" cy="503992"/>
            </a:xfrm>
          </p:grpSpPr>
          <p:sp>
            <p:nvSpPr>
              <p:cNvPr id="41" name="Google Shape;557;p30">
                <a:extLst>
                  <a:ext uri="{FF2B5EF4-FFF2-40B4-BE49-F238E27FC236}">
                    <a16:creationId xmlns:a16="http://schemas.microsoft.com/office/drawing/2014/main" id="{A8CAE4E5-54A4-E896-179A-92FB21D23C82}"/>
                  </a:ext>
                </a:extLst>
              </p:cNvPr>
              <p:cNvSpPr/>
              <p:nvPr/>
            </p:nvSpPr>
            <p:spPr>
              <a:xfrm>
                <a:off x="803725" y="5691182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78" tIns="50374" rIns="100778" bIns="50374" anchor="ctr" anchorCtr="0">
                <a:noAutofit/>
              </a:bodyPr>
              <a:lstStyle/>
              <a:p>
                <a:pPr algn="ctr" defTabSz="914406">
                  <a:lnSpc>
                    <a:spcPts val="1800"/>
                  </a:lnSpc>
                </a:pPr>
                <a:endParaRPr sz="1601">
                  <a:solidFill>
                    <a:srgbClr val="FFFFFF"/>
                  </a:solidFill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178" name="Graphic 177">
                <a:extLst>
                  <a:ext uri="{FF2B5EF4-FFF2-40B4-BE49-F238E27FC236}">
                    <a16:creationId xmlns:a16="http://schemas.microsoft.com/office/drawing/2014/main" id="{08B11E22-383D-60DA-111A-706DDE30D1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86475" y="5805420"/>
                <a:ext cx="338492" cy="275516"/>
              </a:xfrm>
              <a:prstGeom prst="rect">
                <a:avLst/>
              </a:prstGeom>
            </p:spPr>
          </p:pic>
        </p:grpSp>
      </p:grpSp>
      <p:sp>
        <p:nvSpPr>
          <p:cNvPr id="2" name="Google Shape;541;p30">
            <a:extLst>
              <a:ext uri="{FF2B5EF4-FFF2-40B4-BE49-F238E27FC236}">
                <a16:creationId xmlns:a16="http://schemas.microsoft.com/office/drawing/2014/main" id="{70B35DA0-55F3-97D3-61F0-F24C0C1B7488}"/>
              </a:ext>
            </a:extLst>
          </p:cNvPr>
          <p:cNvSpPr txBox="1"/>
          <p:nvPr/>
        </p:nvSpPr>
        <p:spPr>
          <a:xfrm>
            <a:off x="9919083" y="2095572"/>
            <a:ext cx="1885096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3" name="Google Shape;546;p30">
            <a:extLst>
              <a:ext uri="{FF2B5EF4-FFF2-40B4-BE49-F238E27FC236}">
                <a16:creationId xmlns:a16="http://schemas.microsoft.com/office/drawing/2014/main" id="{926F6433-AADB-48C1-48E3-3991E5BEA5CA}"/>
              </a:ext>
            </a:extLst>
          </p:cNvPr>
          <p:cNvSpPr txBox="1"/>
          <p:nvPr/>
        </p:nvSpPr>
        <p:spPr>
          <a:xfrm>
            <a:off x="1343228" y="2095572"/>
            <a:ext cx="2444437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sp>
        <p:nvSpPr>
          <p:cNvPr id="31" name="Google Shape;567;p30">
            <a:extLst>
              <a:ext uri="{FF2B5EF4-FFF2-40B4-BE49-F238E27FC236}">
                <a16:creationId xmlns:a16="http://schemas.microsoft.com/office/drawing/2014/main" id="{93FF24BB-A9B2-328E-48EA-F20777E72020}"/>
              </a:ext>
            </a:extLst>
          </p:cNvPr>
          <p:cNvSpPr txBox="1"/>
          <p:nvPr/>
        </p:nvSpPr>
        <p:spPr>
          <a:xfrm>
            <a:off x="5743492" y="2095572"/>
            <a:ext cx="1940091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406">
              <a:lnSpc>
                <a:spcPct val="85000"/>
              </a:lnSpc>
            </a:pPr>
            <a:r>
              <a:rPr lang="en-IN" sz="2400" b="1" dirty="0">
                <a:solidFill>
                  <a:srgbClr val="FFFFFF"/>
                </a:solidFill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sz="2400" b="1" dirty="0">
              <a:latin typeface="Calibri" panose="020F0502020204030204"/>
              <a:ea typeface="+mn-ea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0F44A0B-44A7-0066-B0BB-AFADDD7A462A}"/>
              </a:ext>
            </a:extLst>
          </p:cNvPr>
          <p:cNvCxnSpPr/>
          <p:nvPr/>
        </p:nvCxnSpPr>
        <p:spPr>
          <a:xfrm>
            <a:off x="765287" y="5879305"/>
            <a:ext cx="3600320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8324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C3D5D9-A4E4-2A8B-3312-A86545505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344732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C3D5D9-A4E4-2A8B-3312-A86545505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D1271DD5-0E2F-2673-6E5B-1C0B00F1F0CB}"/>
              </a:ext>
            </a:extLst>
          </p:cNvPr>
          <p:cNvGrpSpPr/>
          <p:nvPr/>
        </p:nvGrpSpPr>
        <p:grpSpPr>
          <a:xfrm>
            <a:off x="6958801" y="1793698"/>
            <a:ext cx="4080661" cy="2460482"/>
            <a:chOff x="1329003" y="3864105"/>
            <a:chExt cx="4080768" cy="2460547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C52E9759-5FBD-19F5-097F-8A5010656DEC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gradFill>
              <a:gsLst>
                <a:gs pos="0">
                  <a:srgbClr val="E6E6E6"/>
                </a:gs>
                <a:gs pos="36000">
                  <a:srgbClr val="4D4D4D"/>
                </a:gs>
                <a:gs pos="56000">
                  <a:srgbClr val="CCCCCC"/>
                </a:gs>
                <a:gs pos="76000">
                  <a:srgbClr val="575757"/>
                </a:gs>
                <a:gs pos="100000">
                  <a:srgbClr val="919191"/>
                </a:gs>
              </a:gsLst>
              <a:lin ang="0" scaled="1"/>
            </a:gra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07943">
                <a:buClrTx/>
              </a:pPr>
              <a:endParaRPr lang="en-US" sz="1800" kern="1200">
                <a:solidFill>
                  <a:srgbClr val="444444"/>
                </a:solidFill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99457D6-5F23-A440-FA71-F5DA1695B05F}"/>
                </a:ext>
              </a:extLst>
            </p:cNvPr>
            <p:cNvSpPr/>
            <p:nvPr/>
          </p:nvSpPr>
          <p:spPr>
            <a:xfrm>
              <a:off x="1650498" y="3935972"/>
              <a:ext cx="3437725" cy="2259434"/>
            </a:xfrm>
            <a:custGeom>
              <a:avLst/>
              <a:gdLst>
                <a:gd name="connsiteX0" fmla="*/ 123909 w 3437725"/>
                <a:gd name="connsiteY0" fmla="*/ 2259371 h 2259434"/>
                <a:gd name="connsiteX1" fmla="*/ 0 w 3437725"/>
                <a:gd name="connsiteY1" fmla="*/ 2195620 h 2259434"/>
                <a:gd name="connsiteX2" fmla="*/ 0 w 3437725"/>
                <a:gd name="connsiteY2" fmla="*/ 123909 h 2259434"/>
                <a:gd name="connsiteX3" fmla="*/ 123909 w 3437725"/>
                <a:gd name="connsiteY3" fmla="*/ 0 h 2259434"/>
                <a:gd name="connsiteX4" fmla="*/ 3313817 w 3437725"/>
                <a:gd name="connsiteY4" fmla="*/ 0 h 2259434"/>
                <a:gd name="connsiteX5" fmla="*/ 3437725 w 3437725"/>
                <a:gd name="connsiteY5" fmla="*/ 123909 h 2259434"/>
                <a:gd name="connsiteX6" fmla="*/ 3437725 w 3437725"/>
                <a:gd name="connsiteY6" fmla="*/ 2195620 h 2259434"/>
                <a:gd name="connsiteX7" fmla="*/ 3313817 w 3437725"/>
                <a:gd name="connsiteY7" fmla="*/ 2259371 h 2259434"/>
                <a:gd name="connsiteX8" fmla="*/ 123909 w 3437725"/>
                <a:gd name="connsiteY8" fmla="*/ 2259371 h 2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7725" h="2259434">
                  <a:moveTo>
                    <a:pt x="123909" y="2259371"/>
                  </a:moveTo>
                  <a:cubicBezTo>
                    <a:pt x="55579" y="2259371"/>
                    <a:pt x="0" y="2263950"/>
                    <a:pt x="0" y="2195620"/>
                  </a:cubicBezTo>
                  <a:lnTo>
                    <a:pt x="0" y="123909"/>
                  </a:lnTo>
                  <a:cubicBezTo>
                    <a:pt x="0" y="55579"/>
                    <a:pt x="55579" y="0"/>
                    <a:pt x="123909" y="0"/>
                  </a:cubicBezTo>
                  <a:lnTo>
                    <a:pt x="3313817" y="0"/>
                  </a:lnTo>
                  <a:cubicBezTo>
                    <a:pt x="3382146" y="0"/>
                    <a:pt x="3437725" y="55579"/>
                    <a:pt x="3437725" y="123909"/>
                  </a:cubicBezTo>
                  <a:lnTo>
                    <a:pt x="3437725" y="2195620"/>
                  </a:lnTo>
                  <a:cubicBezTo>
                    <a:pt x="3437725" y="2263950"/>
                    <a:pt x="3382146" y="2259371"/>
                    <a:pt x="3313817" y="2259371"/>
                  </a:cubicBezTo>
                  <a:lnTo>
                    <a:pt x="123909" y="2259371"/>
                  </a:ln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07943">
                <a:buClrTx/>
              </a:pPr>
              <a:endParaRPr lang="en-US" sz="1800" kern="1200">
                <a:solidFill>
                  <a:srgbClr val="444444"/>
                </a:solidFill>
                <a:ea typeface="+mn-ea"/>
                <a:cs typeface="+mn-cs"/>
              </a:endParaRPr>
            </a:p>
          </p:txBody>
        </p:sp>
        <p:grpSp>
          <p:nvGrpSpPr>
            <p:cNvPr id="40" name="Graphic 2">
              <a:extLst>
                <a:ext uri="{FF2B5EF4-FFF2-40B4-BE49-F238E27FC236}">
                  <a16:creationId xmlns:a16="http://schemas.microsoft.com/office/drawing/2014/main" id="{FF6E914E-B9A0-0339-BF2B-96CA4AEE41A6}"/>
                </a:ext>
              </a:extLst>
            </p:cNvPr>
            <p:cNvGrpSpPr/>
            <p:nvPr/>
          </p:nvGrpSpPr>
          <p:grpSpPr>
            <a:xfrm>
              <a:off x="1655461" y="3940304"/>
              <a:ext cx="3426565" cy="2251885"/>
              <a:chOff x="1655461" y="3940304"/>
              <a:chExt cx="3426565" cy="2251885"/>
            </a:xfrm>
          </p:grpSpPr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0338B6BE-9A68-4041-2E90-296F2F63D172}"/>
                  </a:ext>
                </a:extLst>
              </p:cNvPr>
              <p:cNvSpPr/>
              <p:nvPr/>
            </p:nvSpPr>
            <p:spPr>
              <a:xfrm>
                <a:off x="1678740" y="3940304"/>
                <a:ext cx="3403286" cy="2228359"/>
              </a:xfrm>
              <a:custGeom>
                <a:avLst/>
                <a:gdLst>
                  <a:gd name="connsiteX0" fmla="*/ 3403286 w 3403286"/>
                  <a:gd name="connsiteY0" fmla="*/ 112749 h 2228359"/>
                  <a:gd name="connsiteX1" fmla="*/ 3290565 w 3403286"/>
                  <a:gd name="connsiteY1" fmla="*/ 0 h 2228359"/>
                  <a:gd name="connsiteX2" fmla="*/ 97723 w 3403286"/>
                  <a:gd name="connsiteY2" fmla="*/ 0 h 2228359"/>
                  <a:gd name="connsiteX3" fmla="*/ 0 w 3403286"/>
                  <a:gd name="connsiteY3" fmla="*/ 56567 h 2228359"/>
                  <a:gd name="connsiteX4" fmla="*/ 89497 w 3403286"/>
                  <a:gd name="connsiteY4" fmla="*/ 12366 h 2228359"/>
                  <a:gd name="connsiteX5" fmla="*/ 3282284 w 3403286"/>
                  <a:gd name="connsiteY5" fmla="*/ 12366 h 2228359"/>
                  <a:gd name="connsiteX6" fmla="*/ 3395033 w 3403286"/>
                  <a:gd name="connsiteY6" fmla="*/ 125115 h 2228359"/>
                  <a:gd name="connsiteX7" fmla="*/ 3395033 w 3403286"/>
                  <a:gd name="connsiteY7" fmla="*/ 2198774 h 2228359"/>
                  <a:gd name="connsiteX8" fmla="*/ 3384312 w 3403286"/>
                  <a:gd name="connsiteY8" fmla="*/ 2228359 h 2228359"/>
                  <a:gd name="connsiteX9" fmla="*/ 3403259 w 3403286"/>
                  <a:gd name="connsiteY9" fmla="*/ 2186407 h 2228359"/>
                  <a:gd name="connsiteX10" fmla="*/ 3403259 w 3403286"/>
                  <a:gd name="connsiteY10" fmla="*/ 112749 h 222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3286" h="2228359">
                    <a:moveTo>
                      <a:pt x="3403286" y="112749"/>
                    </a:moveTo>
                    <a:cubicBezTo>
                      <a:pt x="3403286" y="50479"/>
                      <a:pt x="3352807" y="0"/>
                      <a:pt x="3290565" y="0"/>
                    </a:cubicBezTo>
                    <a:lnTo>
                      <a:pt x="97723" y="0"/>
                    </a:lnTo>
                    <a:cubicBezTo>
                      <a:pt x="55908" y="0"/>
                      <a:pt x="19468" y="22786"/>
                      <a:pt x="0" y="56567"/>
                    </a:cubicBezTo>
                    <a:cubicBezTo>
                      <a:pt x="20620" y="29695"/>
                      <a:pt x="53029" y="12366"/>
                      <a:pt x="89497" y="12366"/>
                    </a:cubicBezTo>
                    <a:lnTo>
                      <a:pt x="3282284" y="12366"/>
                    </a:lnTo>
                    <a:cubicBezTo>
                      <a:pt x="3344554" y="12366"/>
                      <a:pt x="3395033" y="62846"/>
                      <a:pt x="3395033" y="125115"/>
                    </a:cubicBezTo>
                    <a:lnTo>
                      <a:pt x="3395033" y="2198774"/>
                    </a:lnTo>
                    <a:cubicBezTo>
                      <a:pt x="3395033" y="2219256"/>
                      <a:pt x="3393854" y="2211825"/>
                      <a:pt x="3384312" y="2228359"/>
                    </a:cubicBezTo>
                    <a:cubicBezTo>
                      <a:pt x="3398872" y="2209357"/>
                      <a:pt x="3403259" y="2212182"/>
                      <a:pt x="3403259" y="2186407"/>
                    </a:cubicBezTo>
                    <a:lnTo>
                      <a:pt x="3403259" y="112749"/>
                    </a:lnTo>
                    <a:close/>
                  </a:path>
                </a:pathLst>
              </a:custGeom>
              <a:gradFill>
                <a:gsLst>
                  <a:gs pos="0">
                    <a:srgbClr val="919191"/>
                  </a:gs>
                  <a:gs pos="17000">
                    <a:srgbClr val="979797"/>
                  </a:gs>
                  <a:gs pos="40000">
                    <a:srgbClr val="A9A9A9"/>
                  </a:gs>
                  <a:gs pos="67000">
                    <a:srgbClr val="C7C7C7"/>
                  </a:gs>
                  <a:gs pos="97000">
                    <a:srgbClr val="EFEFEF"/>
                  </a:gs>
                  <a:gs pos="100000">
                    <a:srgbClr val="F5F5F5"/>
                  </a:gs>
                </a:gsLst>
                <a:lin ang="14099989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0CE862C-4C83-8A1E-CF78-A133D144DF3A}"/>
                  </a:ext>
                </a:extLst>
              </p:cNvPr>
              <p:cNvSpPr/>
              <p:nvPr/>
            </p:nvSpPr>
            <p:spPr>
              <a:xfrm>
                <a:off x="1655461" y="3996871"/>
                <a:ext cx="3415487" cy="2195318"/>
              </a:xfrm>
              <a:custGeom>
                <a:avLst/>
                <a:gdLst>
                  <a:gd name="connsiteX0" fmla="*/ 3313816 w 3415487"/>
                  <a:gd name="connsiteY0" fmla="*/ 2182404 h 2195318"/>
                  <a:gd name="connsiteX1" fmla="*/ 121002 w 3415487"/>
                  <a:gd name="connsiteY1" fmla="*/ 2182404 h 2195318"/>
                  <a:gd name="connsiteX2" fmla="*/ 8253 w 3415487"/>
                  <a:gd name="connsiteY2" fmla="*/ 2129841 h 2195318"/>
                  <a:gd name="connsiteX3" fmla="*/ 8253 w 3415487"/>
                  <a:gd name="connsiteY3" fmla="*/ 56183 h 2195318"/>
                  <a:gd name="connsiteX4" fmla="*/ 23252 w 3415487"/>
                  <a:gd name="connsiteY4" fmla="*/ 0 h 2195318"/>
                  <a:gd name="connsiteX5" fmla="*/ 0 w 3415487"/>
                  <a:gd name="connsiteY5" fmla="*/ 68549 h 2195318"/>
                  <a:gd name="connsiteX6" fmla="*/ 0 w 3415487"/>
                  <a:gd name="connsiteY6" fmla="*/ 2142207 h 2195318"/>
                  <a:gd name="connsiteX7" fmla="*/ 112749 w 3415487"/>
                  <a:gd name="connsiteY7" fmla="*/ 2194770 h 2195318"/>
                  <a:gd name="connsiteX8" fmla="*/ 3305536 w 3415487"/>
                  <a:gd name="connsiteY8" fmla="*/ 2194770 h 2195318"/>
                  <a:gd name="connsiteX9" fmla="*/ 3415488 w 3415487"/>
                  <a:gd name="connsiteY9" fmla="*/ 2151502 h 2195318"/>
                  <a:gd name="connsiteX10" fmla="*/ 3313789 w 3415487"/>
                  <a:gd name="connsiteY10" fmla="*/ 2182432 h 2195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15487" h="2195318">
                    <a:moveTo>
                      <a:pt x="3313816" y="2182404"/>
                    </a:moveTo>
                    <a:lnTo>
                      <a:pt x="121002" y="2182404"/>
                    </a:lnTo>
                    <a:cubicBezTo>
                      <a:pt x="58733" y="2182404"/>
                      <a:pt x="8253" y="2192111"/>
                      <a:pt x="8253" y="2129841"/>
                    </a:cubicBezTo>
                    <a:lnTo>
                      <a:pt x="8253" y="56183"/>
                    </a:lnTo>
                    <a:cubicBezTo>
                      <a:pt x="8253" y="35728"/>
                      <a:pt x="13737" y="16534"/>
                      <a:pt x="23252" y="0"/>
                    </a:cubicBezTo>
                    <a:cubicBezTo>
                      <a:pt x="8665" y="19002"/>
                      <a:pt x="0" y="42747"/>
                      <a:pt x="0" y="68549"/>
                    </a:cubicBezTo>
                    <a:lnTo>
                      <a:pt x="0" y="2142207"/>
                    </a:lnTo>
                    <a:cubicBezTo>
                      <a:pt x="0" y="2204477"/>
                      <a:pt x="50479" y="2194770"/>
                      <a:pt x="112749" y="2194770"/>
                    </a:cubicBezTo>
                    <a:lnTo>
                      <a:pt x="3305536" y="2194770"/>
                    </a:lnTo>
                    <a:cubicBezTo>
                      <a:pt x="3347350" y="2194770"/>
                      <a:pt x="3396020" y="2185283"/>
                      <a:pt x="3415488" y="2151502"/>
                    </a:cubicBezTo>
                    <a:cubicBezTo>
                      <a:pt x="3394869" y="2178346"/>
                      <a:pt x="3350230" y="2182432"/>
                      <a:pt x="3313789" y="2182432"/>
                    </a:cubicBezTo>
                    <a:close/>
                  </a:path>
                </a:pathLst>
              </a:custGeom>
              <a:gradFill>
                <a:gsLst>
                  <a:gs pos="0">
                    <a:srgbClr val="E6E6E6"/>
                  </a:gs>
                  <a:gs pos="36000">
                    <a:srgbClr val="4D4D4D"/>
                  </a:gs>
                  <a:gs pos="56000">
                    <a:srgbClr val="CCCCCC"/>
                  </a:gs>
                  <a:gs pos="100000">
                    <a:srgbClr val="919191"/>
                  </a:gs>
                </a:gsLst>
                <a:lin ang="1409999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Graphic 2">
              <a:extLst>
                <a:ext uri="{FF2B5EF4-FFF2-40B4-BE49-F238E27FC236}">
                  <a16:creationId xmlns:a16="http://schemas.microsoft.com/office/drawing/2014/main" id="{F91F9B77-C4FD-75BB-1D1F-4BD284A6253A}"/>
                </a:ext>
              </a:extLst>
            </p:cNvPr>
            <p:cNvGrpSpPr/>
            <p:nvPr/>
          </p:nvGrpSpPr>
          <p:grpSpPr>
            <a:xfrm>
              <a:off x="1672735" y="3864105"/>
              <a:ext cx="3496677" cy="2460547"/>
              <a:chOff x="1672735" y="3864105"/>
              <a:chExt cx="3496677" cy="2460547"/>
            </a:xfrm>
          </p:grpSpPr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D87D8F8-4BD3-9E2C-A692-D72DB75B8897}"/>
                  </a:ext>
                </a:extLst>
              </p:cNvPr>
              <p:cNvSpPr/>
              <p:nvPr/>
            </p:nvSpPr>
            <p:spPr>
              <a:xfrm>
                <a:off x="1672735" y="3961801"/>
                <a:ext cx="3393278" cy="2216967"/>
              </a:xfrm>
              <a:custGeom>
                <a:avLst/>
                <a:gdLst>
                  <a:gd name="connsiteX0" fmla="*/ 90759 w 3393278"/>
                  <a:gd name="connsiteY0" fmla="*/ 2207767 h 2216967"/>
                  <a:gd name="connsiteX1" fmla="*/ 0 w 3393278"/>
                  <a:gd name="connsiteY1" fmla="*/ 2177195 h 2216967"/>
                  <a:gd name="connsiteX2" fmla="*/ 0 w 3393278"/>
                  <a:gd name="connsiteY2" fmla="*/ 90759 h 2216967"/>
                  <a:gd name="connsiteX3" fmla="*/ 90759 w 3393278"/>
                  <a:gd name="connsiteY3" fmla="*/ 0 h 2216967"/>
                  <a:gd name="connsiteX4" fmla="*/ 3302520 w 3393278"/>
                  <a:gd name="connsiteY4" fmla="*/ 0 h 2216967"/>
                  <a:gd name="connsiteX5" fmla="*/ 3393278 w 3393278"/>
                  <a:gd name="connsiteY5" fmla="*/ 90759 h 2216967"/>
                  <a:gd name="connsiteX6" fmla="*/ 3393278 w 3393278"/>
                  <a:gd name="connsiteY6" fmla="*/ 2177195 h 2216967"/>
                  <a:gd name="connsiteX7" fmla="*/ 3302931 w 3393278"/>
                  <a:gd name="connsiteY7" fmla="*/ 2215856 h 2216967"/>
                  <a:gd name="connsiteX8" fmla="*/ 90786 w 3393278"/>
                  <a:gd name="connsiteY8" fmla="*/ 2207794 h 2216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93278" h="2216967">
                    <a:moveTo>
                      <a:pt x="90759" y="2207767"/>
                    </a:moveTo>
                    <a:cubicBezTo>
                      <a:pt x="40718" y="2207767"/>
                      <a:pt x="0" y="2227235"/>
                      <a:pt x="0" y="2177195"/>
                    </a:cubicBezTo>
                    <a:lnTo>
                      <a:pt x="0" y="90759"/>
                    </a:lnTo>
                    <a:cubicBezTo>
                      <a:pt x="0" y="40718"/>
                      <a:pt x="40718" y="0"/>
                      <a:pt x="90759" y="0"/>
                    </a:cubicBezTo>
                    <a:lnTo>
                      <a:pt x="3302520" y="0"/>
                    </a:lnTo>
                    <a:cubicBezTo>
                      <a:pt x="3352560" y="0"/>
                      <a:pt x="3393278" y="40718"/>
                      <a:pt x="3393278" y="90759"/>
                    </a:cubicBezTo>
                    <a:lnTo>
                      <a:pt x="3393278" y="2177195"/>
                    </a:lnTo>
                    <a:cubicBezTo>
                      <a:pt x="3393278" y="2227235"/>
                      <a:pt x="3352971" y="2215856"/>
                      <a:pt x="3302931" y="2215856"/>
                    </a:cubicBezTo>
                    <a:lnTo>
                      <a:pt x="90786" y="2207794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83FCA202-5531-DA05-67A1-D587EB3DF2D5}"/>
                  </a:ext>
                </a:extLst>
              </p:cNvPr>
              <p:cNvSpPr/>
              <p:nvPr/>
            </p:nvSpPr>
            <p:spPr>
              <a:xfrm>
                <a:off x="3175134" y="3864105"/>
                <a:ext cx="1994278" cy="2460547"/>
              </a:xfrm>
              <a:custGeom>
                <a:avLst/>
                <a:gdLst>
                  <a:gd name="connsiteX0" fmla="*/ 1809608 w 1994278"/>
                  <a:gd name="connsiteY0" fmla="*/ 0 h 2460547"/>
                  <a:gd name="connsiteX1" fmla="*/ 0 w 1994278"/>
                  <a:gd name="connsiteY1" fmla="*/ 274 h 2460547"/>
                  <a:gd name="connsiteX2" fmla="*/ 701447 w 1994278"/>
                  <a:gd name="connsiteY2" fmla="*/ 2460548 h 2460547"/>
                  <a:gd name="connsiteX3" fmla="*/ 1809608 w 1994278"/>
                  <a:gd name="connsiteY3" fmla="*/ 2460274 h 2460547"/>
                  <a:gd name="connsiteX4" fmla="*/ 1994278 w 1994278"/>
                  <a:gd name="connsiteY4" fmla="*/ 2303105 h 2460547"/>
                  <a:gd name="connsiteX5" fmla="*/ 1994278 w 1994278"/>
                  <a:gd name="connsiteY5" fmla="*/ 157169 h 2460547"/>
                  <a:gd name="connsiteX6" fmla="*/ 1809608 w 1994278"/>
                  <a:gd name="connsiteY6" fmla="*/ 0 h 246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4278" h="2460547">
                    <a:moveTo>
                      <a:pt x="1809608" y="0"/>
                    </a:moveTo>
                    <a:lnTo>
                      <a:pt x="0" y="274"/>
                    </a:lnTo>
                    <a:lnTo>
                      <a:pt x="701447" y="2460548"/>
                    </a:lnTo>
                    <a:lnTo>
                      <a:pt x="1809608" y="2460274"/>
                    </a:lnTo>
                    <a:cubicBezTo>
                      <a:pt x="1911581" y="2460274"/>
                      <a:pt x="1994278" y="2389888"/>
                      <a:pt x="1994278" y="2303105"/>
                    </a:cubicBezTo>
                    <a:lnTo>
                      <a:pt x="1994278" y="157169"/>
                    </a:lnTo>
                    <a:cubicBezTo>
                      <a:pt x="1994278" y="70358"/>
                      <a:pt x="1911608" y="0"/>
                      <a:pt x="1809608" y="0"/>
                    </a:cubicBezTo>
                    <a:close/>
                  </a:path>
                </a:pathLst>
              </a:custGeom>
              <a:solidFill>
                <a:srgbClr val="FFFFFF">
                  <a:alpha val="5000"/>
                </a:srgbClr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</p:grp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976B8EB-5E8E-EC8E-04C5-C9A67146192D}"/>
                </a:ext>
              </a:extLst>
            </p:cNvPr>
            <p:cNvSpPr/>
            <p:nvPr/>
          </p:nvSpPr>
          <p:spPr>
            <a:xfrm>
              <a:off x="1672735" y="6067732"/>
              <a:ext cx="3393250" cy="7732"/>
            </a:xfrm>
            <a:custGeom>
              <a:avLst/>
              <a:gdLst>
                <a:gd name="connsiteX0" fmla="*/ 0 w 3393250"/>
                <a:gd name="connsiteY0" fmla="*/ 0 h 7732"/>
                <a:gd name="connsiteX1" fmla="*/ 3393251 w 3393250"/>
                <a:gd name="connsiteY1" fmla="*/ 0 h 7732"/>
                <a:gd name="connsiteX2" fmla="*/ 3393251 w 3393250"/>
                <a:gd name="connsiteY2" fmla="*/ 7732 h 7732"/>
                <a:gd name="connsiteX3" fmla="*/ 0 w 3393250"/>
                <a:gd name="connsiteY3" fmla="*/ 7732 h 7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3250" h="7732">
                  <a:moveTo>
                    <a:pt x="0" y="0"/>
                  </a:moveTo>
                  <a:lnTo>
                    <a:pt x="3393251" y="0"/>
                  </a:lnTo>
                  <a:lnTo>
                    <a:pt x="3393251" y="7732"/>
                  </a:lnTo>
                  <a:lnTo>
                    <a:pt x="0" y="7732"/>
                  </a:lnTo>
                  <a:close/>
                </a:path>
              </a:pathLst>
            </a:custGeom>
            <a:solidFill>
              <a:srgbClr val="404041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07943">
                <a:buClrTx/>
              </a:pPr>
              <a:endParaRPr lang="en-US" sz="1800" kern="1200">
                <a:solidFill>
                  <a:srgbClr val="444444"/>
                </a:solidFill>
                <a:ea typeface="+mn-ea"/>
                <a:cs typeface="+mn-cs"/>
              </a:endParaRPr>
            </a:p>
          </p:txBody>
        </p:sp>
        <p:grpSp>
          <p:nvGrpSpPr>
            <p:cNvPr id="44" name="Graphic 2">
              <a:extLst>
                <a:ext uri="{FF2B5EF4-FFF2-40B4-BE49-F238E27FC236}">
                  <a16:creationId xmlns:a16="http://schemas.microsoft.com/office/drawing/2014/main" id="{DD7B08EB-D957-4F4A-E8A0-EEAE7D512194}"/>
                </a:ext>
              </a:extLst>
            </p:cNvPr>
            <p:cNvGrpSpPr/>
            <p:nvPr/>
          </p:nvGrpSpPr>
          <p:grpSpPr>
            <a:xfrm>
              <a:off x="3355034" y="3982421"/>
              <a:ext cx="28680" cy="28872"/>
              <a:chOff x="3355034" y="3982421"/>
              <a:chExt cx="28680" cy="28872"/>
            </a:xfrm>
          </p:grpSpPr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D5534CA4-5064-4D10-DF6D-DF3CF9741B71}"/>
                  </a:ext>
                </a:extLst>
              </p:cNvPr>
              <p:cNvSpPr/>
              <p:nvPr/>
            </p:nvSpPr>
            <p:spPr>
              <a:xfrm>
                <a:off x="3355746" y="3983325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0 h 27967"/>
                  <a:gd name="connsiteX2" fmla="*/ 0 w 27967"/>
                  <a:gd name="connsiteY2" fmla="*/ 13984 h 27967"/>
                  <a:gd name="connsiteX3" fmla="*/ 13984 w 27967"/>
                  <a:gd name="connsiteY3" fmla="*/ 27968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6252"/>
                      <a:pt x="21689" y="0"/>
                      <a:pt x="13984" y="0"/>
                    </a:cubicBezTo>
                    <a:cubicBezTo>
                      <a:pt x="6279" y="0"/>
                      <a:pt x="0" y="6279"/>
                      <a:pt x="0" y="13984"/>
                    </a:cubicBezTo>
                    <a:cubicBezTo>
                      <a:pt x="0" y="21689"/>
                      <a:pt x="6252" y="27968"/>
                      <a:pt x="13984" y="27968"/>
                    </a:cubicBezTo>
                    <a:cubicBezTo>
                      <a:pt x="21716" y="27968"/>
                      <a:pt x="27968" y="21689"/>
                      <a:pt x="27968" y="13984"/>
                    </a:cubicBezTo>
                    <a:close/>
                  </a:path>
                </a:pathLst>
              </a:custGeom>
              <a:solidFill>
                <a:srgbClr val="58595B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0A6A1C40-E16B-17C8-06CF-E68889D98024}"/>
                  </a:ext>
                </a:extLst>
              </p:cNvPr>
              <p:cNvSpPr/>
              <p:nvPr/>
            </p:nvSpPr>
            <p:spPr>
              <a:xfrm>
                <a:off x="3355034" y="3982421"/>
                <a:ext cx="27967" cy="27967"/>
              </a:xfrm>
              <a:custGeom>
                <a:avLst/>
                <a:gdLst>
                  <a:gd name="connsiteX0" fmla="*/ 27968 w 27967"/>
                  <a:gd name="connsiteY0" fmla="*/ 13984 h 27967"/>
                  <a:gd name="connsiteX1" fmla="*/ 13984 w 27967"/>
                  <a:gd name="connsiteY1" fmla="*/ 27968 h 27967"/>
                  <a:gd name="connsiteX2" fmla="*/ 0 w 27967"/>
                  <a:gd name="connsiteY2" fmla="*/ 13984 h 27967"/>
                  <a:gd name="connsiteX3" fmla="*/ 13984 w 27967"/>
                  <a:gd name="connsiteY3" fmla="*/ 0 h 27967"/>
                  <a:gd name="connsiteX4" fmla="*/ 27968 w 27967"/>
                  <a:gd name="connsiteY4" fmla="*/ 13984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967" h="27967">
                    <a:moveTo>
                      <a:pt x="27968" y="13984"/>
                    </a:moveTo>
                    <a:cubicBezTo>
                      <a:pt x="27968" y="21707"/>
                      <a:pt x="21707" y="27968"/>
                      <a:pt x="13984" y="27968"/>
                    </a:cubicBezTo>
                    <a:cubicBezTo>
                      <a:pt x="6261" y="27968"/>
                      <a:pt x="0" y="21707"/>
                      <a:pt x="0" y="13984"/>
                    </a:cubicBezTo>
                    <a:cubicBezTo>
                      <a:pt x="0" y="6261"/>
                      <a:pt x="6261" y="0"/>
                      <a:pt x="13984" y="0"/>
                    </a:cubicBezTo>
                    <a:cubicBezTo>
                      <a:pt x="21707" y="0"/>
                      <a:pt x="27968" y="6261"/>
                      <a:pt x="27968" y="13984"/>
                    </a:cubicBezTo>
                    <a:close/>
                  </a:path>
                </a:pathLst>
              </a:custGeom>
              <a:solidFill>
                <a:srgbClr val="8F8F8F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4E053C4D-0EC8-2A2A-D01C-E7BAE4C3349C}"/>
                  </a:ext>
                </a:extLst>
              </p:cNvPr>
              <p:cNvSpPr/>
              <p:nvPr/>
            </p:nvSpPr>
            <p:spPr>
              <a:xfrm>
                <a:off x="3357035" y="3984422"/>
                <a:ext cx="23964" cy="23964"/>
              </a:xfrm>
              <a:custGeom>
                <a:avLst/>
                <a:gdLst>
                  <a:gd name="connsiteX0" fmla="*/ 23965 w 23964"/>
                  <a:gd name="connsiteY0" fmla="*/ 11982 h 23964"/>
                  <a:gd name="connsiteX1" fmla="*/ 11982 w 23964"/>
                  <a:gd name="connsiteY1" fmla="*/ 23965 h 23964"/>
                  <a:gd name="connsiteX2" fmla="*/ 0 w 23964"/>
                  <a:gd name="connsiteY2" fmla="*/ 11982 h 23964"/>
                  <a:gd name="connsiteX3" fmla="*/ 11982 w 23964"/>
                  <a:gd name="connsiteY3" fmla="*/ 0 h 23964"/>
                  <a:gd name="connsiteX4" fmla="*/ 23965 w 23964"/>
                  <a:gd name="connsiteY4" fmla="*/ 11982 h 23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64" h="23964">
                    <a:moveTo>
                      <a:pt x="23965" y="11982"/>
                    </a:moveTo>
                    <a:cubicBezTo>
                      <a:pt x="23965" y="18600"/>
                      <a:pt x="18600" y="23965"/>
                      <a:pt x="11982" y="23965"/>
                    </a:cubicBezTo>
                    <a:cubicBezTo>
                      <a:pt x="5365" y="23965"/>
                      <a:pt x="0" y="18600"/>
                      <a:pt x="0" y="11982"/>
                    </a:cubicBezTo>
                    <a:cubicBezTo>
                      <a:pt x="0" y="5365"/>
                      <a:pt x="5365" y="0"/>
                      <a:pt x="11982" y="0"/>
                    </a:cubicBezTo>
                    <a:cubicBezTo>
                      <a:pt x="18600" y="0"/>
                      <a:pt x="23965" y="5365"/>
                      <a:pt x="23965" y="11982"/>
                    </a:cubicBezTo>
                    <a:close/>
                  </a:path>
                </a:pathLst>
              </a:custGeom>
              <a:solidFill>
                <a:srgbClr val="231F2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1CEDF13D-CF35-3E56-496A-4AD09C07998D}"/>
                  </a:ext>
                </a:extLst>
              </p:cNvPr>
              <p:cNvSpPr/>
              <p:nvPr/>
            </p:nvSpPr>
            <p:spPr>
              <a:xfrm>
                <a:off x="3360874" y="3988261"/>
                <a:ext cx="16287" cy="16287"/>
              </a:xfrm>
              <a:custGeom>
                <a:avLst/>
                <a:gdLst>
                  <a:gd name="connsiteX0" fmla="*/ 16287 w 16287"/>
                  <a:gd name="connsiteY0" fmla="*/ 8144 h 16287"/>
                  <a:gd name="connsiteX1" fmla="*/ 8144 w 16287"/>
                  <a:gd name="connsiteY1" fmla="*/ 16287 h 16287"/>
                  <a:gd name="connsiteX2" fmla="*/ 0 w 16287"/>
                  <a:gd name="connsiteY2" fmla="*/ 8144 h 16287"/>
                  <a:gd name="connsiteX3" fmla="*/ 8144 w 16287"/>
                  <a:gd name="connsiteY3" fmla="*/ 0 h 16287"/>
                  <a:gd name="connsiteX4" fmla="*/ 16287 w 16287"/>
                  <a:gd name="connsiteY4" fmla="*/ 8144 h 1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" h="16287">
                    <a:moveTo>
                      <a:pt x="16287" y="8144"/>
                    </a:moveTo>
                    <a:cubicBezTo>
                      <a:pt x="16287" y="12641"/>
                      <a:pt x="12641" y="16287"/>
                      <a:pt x="8144" y="16287"/>
                    </a:cubicBezTo>
                    <a:cubicBezTo>
                      <a:pt x="3646" y="16287"/>
                      <a:pt x="0" y="12641"/>
                      <a:pt x="0" y="8144"/>
                    </a:cubicBezTo>
                    <a:cubicBezTo>
                      <a:pt x="0" y="3646"/>
                      <a:pt x="3646" y="0"/>
                      <a:pt x="8144" y="0"/>
                    </a:cubicBezTo>
                    <a:cubicBezTo>
                      <a:pt x="12641" y="0"/>
                      <a:pt x="16287" y="3646"/>
                      <a:pt x="16287" y="8144"/>
                    </a:cubicBezTo>
                    <a:close/>
                  </a:path>
                </a:pathLst>
              </a:custGeom>
              <a:solidFill>
                <a:srgbClr val="454545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67886599-77AE-99EF-B8BB-0B2C62F736F8}"/>
                  </a:ext>
                </a:extLst>
              </p:cNvPr>
              <p:cNvSpPr/>
              <p:nvPr/>
            </p:nvSpPr>
            <p:spPr>
              <a:xfrm>
                <a:off x="3366742" y="3994129"/>
                <a:ext cx="4551" cy="4551"/>
              </a:xfrm>
              <a:custGeom>
                <a:avLst/>
                <a:gdLst>
                  <a:gd name="connsiteX0" fmla="*/ 4552 w 4551"/>
                  <a:gd name="connsiteY0" fmla="*/ 2276 h 4551"/>
                  <a:gd name="connsiteX1" fmla="*/ 2276 w 4551"/>
                  <a:gd name="connsiteY1" fmla="*/ 4552 h 4551"/>
                  <a:gd name="connsiteX2" fmla="*/ 0 w 4551"/>
                  <a:gd name="connsiteY2" fmla="*/ 2276 h 4551"/>
                  <a:gd name="connsiteX3" fmla="*/ 2276 w 4551"/>
                  <a:gd name="connsiteY3" fmla="*/ 0 h 4551"/>
                  <a:gd name="connsiteX4" fmla="*/ 4552 w 4551"/>
                  <a:gd name="connsiteY4" fmla="*/ 2276 h 4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51" h="4551">
                    <a:moveTo>
                      <a:pt x="4552" y="2276"/>
                    </a:moveTo>
                    <a:cubicBezTo>
                      <a:pt x="4552" y="3533"/>
                      <a:pt x="3533" y="4552"/>
                      <a:pt x="2276" y="4552"/>
                    </a:cubicBezTo>
                    <a:cubicBezTo>
                      <a:pt x="1019" y="4552"/>
                      <a:pt x="0" y="3533"/>
                      <a:pt x="0" y="2276"/>
                    </a:cubicBezTo>
                    <a:cubicBezTo>
                      <a:pt x="0" y="1019"/>
                      <a:pt x="1019" y="0"/>
                      <a:pt x="2276" y="0"/>
                    </a:cubicBezTo>
                    <a:cubicBezTo>
                      <a:pt x="3533" y="0"/>
                      <a:pt x="4552" y="1019"/>
                      <a:pt x="4552" y="22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Graphic 2">
              <a:extLst>
                <a:ext uri="{FF2B5EF4-FFF2-40B4-BE49-F238E27FC236}">
                  <a16:creationId xmlns:a16="http://schemas.microsoft.com/office/drawing/2014/main" id="{42CB035A-3E6E-1CF7-B5C2-DBA2EBDF80C8}"/>
                </a:ext>
              </a:extLst>
            </p:cNvPr>
            <p:cNvGrpSpPr/>
            <p:nvPr/>
          </p:nvGrpSpPr>
          <p:grpSpPr>
            <a:xfrm>
              <a:off x="1329003" y="6140915"/>
              <a:ext cx="4080768" cy="99615"/>
              <a:chOff x="1329003" y="6140915"/>
              <a:chExt cx="4080768" cy="99615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C0CD505-D358-A8D3-E5B1-C5D76E409385}"/>
                  </a:ext>
                </a:extLst>
              </p:cNvPr>
              <p:cNvSpPr/>
              <p:nvPr/>
            </p:nvSpPr>
            <p:spPr>
              <a:xfrm>
                <a:off x="1329003" y="6140915"/>
                <a:ext cx="4080740" cy="48559"/>
              </a:xfrm>
              <a:custGeom>
                <a:avLst/>
                <a:gdLst>
                  <a:gd name="connsiteX0" fmla="*/ 4080741 w 4080740"/>
                  <a:gd name="connsiteY0" fmla="*/ 0 h 48559"/>
                  <a:gd name="connsiteX1" fmla="*/ 2040371 w 4080740"/>
                  <a:gd name="connsiteY1" fmla="*/ 0 h 48559"/>
                  <a:gd name="connsiteX2" fmla="*/ 0 w 4080740"/>
                  <a:gd name="connsiteY2" fmla="*/ 0 h 48559"/>
                  <a:gd name="connsiteX3" fmla="*/ 0 w 4080740"/>
                  <a:gd name="connsiteY3" fmla="*/ 48560 h 48559"/>
                  <a:gd name="connsiteX4" fmla="*/ 4080741 w 4080740"/>
                  <a:gd name="connsiteY4" fmla="*/ 48560 h 48559"/>
                  <a:gd name="connsiteX5" fmla="*/ 4080741 w 4080740"/>
                  <a:gd name="connsiteY5" fmla="*/ 0 h 4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80740" h="48559">
                    <a:moveTo>
                      <a:pt x="4080741" y="0"/>
                    </a:moveTo>
                    <a:lnTo>
                      <a:pt x="2040371" y="0"/>
                    </a:lnTo>
                    <a:lnTo>
                      <a:pt x="0" y="0"/>
                    </a:lnTo>
                    <a:lnTo>
                      <a:pt x="0" y="48560"/>
                    </a:lnTo>
                    <a:lnTo>
                      <a:pt x="4080741" y="48560"/>
                    </a:lnTo>
                    <a:lnTo>
                      <a:pt x="40807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6B840F8D-B34A-5A8D-7B8C-A186C9C3162A}"/>
                  </a:ext>
                </a:extLst>
              </p:cNvPr>
              <p:cNvSpPr/>
              <p:nvPr/>
            </p:nvSpPr>
            <p:spPr>
              <a:xfrm>
                <a:off x="1329003" y="6189475"/>
                <a:ext cx="4080768" cy="51055"/>
              </a:xfrm>
              <a:custGeom>
                <a:avLst/>
                <a:gdLst>
                  <a:gd name="connsiteX0" fmla="*/ 0 w 4080768"/>
                  <a:gd name="connsiteY0" fmla="*/ 0 h 51055"/>
                  <a:gd name="connsiteX1" fmla="*/ 0 w 4080768"/>
                  <a:gd name="connsiteY1" fmla="*/ 0 h 51055"/>
                  <a:gd name="connsiteX2" fmla="*/ 221385 w 4080768"/>
                  <a:gd name="connsiteY2" fmla="*/ 51001 h 51055"/>
                  <a:gd name="connsiteX3" fmla="*/ 2040398 w 4080768"/>
                  <a:gd name="connsiteY3" fmla="*/ 51055 h 51055"/>
                  <a:gd name="connsiteX4" fmla="*/ 3859383 w 4080768"/>
                  <a:gd name="connsiteY4" fmla="*/ 51001 h 51055"/>
                  <a:gd name="connsiteX5" fmla="*/ 4080769 w 4080768"/>
                  <a:gd name="connsiteY5" fmla="*/ 55 h 51055"/>
                  <a:gd name="connsiteX6" fmla="*/ 4080769 w 4080768"/>
                  <a:gd name="connsiteY6" fmla="*/ 55 h 51055"/>
                  <a:gd name="connsiteX7" fmla="*/ 0 w 4080768"/>
                  <a:gd name="connsiteY7" fmla="*/ 27 h 5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80768" h="51055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128269" y="52755"/>
                      <a:pt x="221385" y="51001"/>
                    </a:cubicBezTo>
                    <a:lnTo>
                      <a:pt x="2040398" y="51055"/>
                    </a:lnTo>
                    <a:lnTo>
                      <a:pt x="3859383" y="51001"/>
                    </a:lnTo>
                    <a:cubicBezTo>
                      <a:pt x="3952527" y="52755"/>
                      <a:pt x="4080769" y="55"/>
                      <a:pt x="4080769" y="55"/>
                    </a:cubicBezTo>
                    <a:lnTo>
                      <a:pt x="4080769" y="55"/>
                    </a:lnTo>
                    <a:cubicBezTo>
                      <a:pt x="4080769" y="55"/>
                      <a:pt x="0" y="27"/>
                      <a:pt x="0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D4A32E-8D66-4398-1D7E-FE26F35DA66F}"/>
                  </a:ext>
                </a:extLst>
              </p:cNvPr>
              <p:cNvSpPr/>
              <p:nvPr/>
            </p:nvSpPr>
            <p:spPr>
              <a:xfrm>
                <a:off x="5398886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7C005DB-3273-6BAA-58AC-382C8A80921B}"/>
                  </a:ext>
                </a:extLst>
              </p:cNvPr>
              <p:cNvSpPr/>
              <p:nvPr/>
            </p:nvSpPr>
            <p:spPr>
              <a:xfrm>
                <a:off x="1329278" y="6140915"/>
                <a:ext cx="10858" cy="48560"/>
              </a:xfrm>
              <a:custGeom>
                <a:avLst/>
                <a:gdLst>
                  <a:gd name="connsiteX0" fmla="*/ 0 w 10858"/>
                  <a:gd name="connsiteY0" fmla="*/ 0 h 48560"/>
                  <a:gd name="connsiteX1" fmla="*/ 10858 w 10858"/>
                  <a:gd name="connsiteY1" fmla="*/ 0 h 48560"/>
                  <a:gd name="connsiteX2" fmla="*/ 10858 w 10858"/>
                  <a:gd name="connsiteY2" fmla="*/ 48560 h 48560"/>
                  <a:gd name="connsiteX3" fmla="*/ 0 w 10858"/>
                  <a:gd name="connsiteY3" fmla="*/ 48560 h 48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858" h="48560">
                    <a:moveTo>
                      <a:pt x="0" y="0"/>
                    </a:moveTo>
                    <a:lnTo>
                      <a:pt x="10858" y="0"/>
                    </a:lnTo>
                    <a:lnTo>
                      <a:pt x="10858" y="48560"/>
                    </a:lnTo>
                    <a:lnTo>
                      <a:pt x="0" y="48560"/>
                    </a:lnTo>
                    <a:close/>
                  </a:path>
                </a:pathLst>
              </a:custGeom>
              <a:solidFill>
                <a:srgbClr val="E6E7E8"/>
              </a:soli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grpSp>
            <p:nvGrpSpPr>
              <p:cNvPr id="51" name="Graphic 2">
                <a:extLst>
                  <a:ext uri="{FF2B5EF4-FFF2-40B4-BE49-F238E27FC236}">
                    <a16:creationId xmlns:a16="http://schemas.microsoft.com/office/drawing/2014/main" id="{CB92F04D-CF08-5DBA-3BF0-A7780E94BC0D}"/>
                  </a:ext>
                </a:extLst>
              </p:cNvPr>
              <p:cNvGrpSpPr/>
              <p:nvPr/>
            </p:nvGrpSpPr>
            <p:grpSpPr>
              <a:xfrm>
                <a:off x="5069961" y="6151663"/>
                <a:ext cx="106223" cy="28872"/>
                <a:chOff x="5069961" y="6151663"/>
                <a:chExt cx="106223" cy="28872"/>
              </a:xfrm>
            </p:grpSpPr>
            <p:grpSp>
              <p:nvGrpSpPr>
                <p:cNvPr id="55" name="Graphic 2">
                  <a:extLst>
                    <a:ext uri="{FF2B5EF4-FFF2-40B4-BE49-F238E27FC236}">
                      <a16:creationId xmlns:a16="http://schemas.microsoft.com/office/drawing/2014/main" id="{533E5410-2D6B-ED24-F733-50E713E119DE}"/>
                    </a:ext>
                  </a:extLst>
                </p:cNvPr>
                <p:cNvGrpSpPr/>
                <p:nvPr/>
              </p:nvGrpSpPr>
              <p:grpSpPr>
                <a:xfrm>
                  <a:off x="5069961" y="6158765"/>
                  <a:ext cx="14559" cy="14669"/>
                  <a:chOff x="5069961" y="6158765"/>
                  <a:chExt cx="14559" cy="14669"/>
                </a:xfrm>
              </p:grpSpPr>
              <p:sp>
                <p:nvSpPr>
                  <p:cNvPr id="128" name="Freeform: Shape 127">
                    <a:extLst>
                      <a:ext uri="{FF2B5EF4-FFF2-40B4-BE49-F238E27FC236}">
                        <a16:creationId xmlns:a16="http://schemas.microsoft.com/office/drawing/2014/main" id="{2869E7A5-4509-BAE7-BC3C-0099993F9337}"/>
                      </a:ext>
                    </a:extLst>
                  </p:cNvPr>
                  <p:cNvSpPr/>
                  <p:nvPr/>
                </p:nvSpPr>
                <p:spPr>
                  <a:xfrm>
                    <a:off x="5070318" y="6159231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0"/>
                          <a:pt x="11023" y="0"/>
                          <a:pt x="7102" y="0"/>
                        </a:cubicBezTo>
                        <a:cubicBezTo>
                          <a:pt x="3181" y="0"/>
                          <a:pt x="0" y="3180"/>
                          <a:pt x="0" y="7102"/>
                        </a:cubicBezTo>
                        <a:cubicBezTo>
                          <a:pt x="0" y="11022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2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A9C85360-290E-903E-0BEA-5E6401F1D319}"/>
                      </a:ext>
                    </a:extLst>
                  </p:cNvPr>
                  <p:cNvSpPr/>
                  <p:nvPr/>
                </p:nvSpPr>
                <p:spPr>
                  <a:xfrm>
                    <a:off x="5069961" y="6158765"/>
                    <a:ext cx="14203" cy="14203"/>
                  </a:xfrm>
                  <a:custGeom>
                    <a:avLst/>
                    <a:gdLst>
                      <a:gd name="connsiteX0" fmla="*/ 14203 w 14203"/>
                      <a:gd name="connsiteY0" fmla="*/ 7102 h 14203"/>
                      <a:gd name="connsiteX1" fmla="*/ 7102 w 14203"/>
                      <a:gd name="connsiteY1" fmla="*/ 0 h 14203"/>
                      <a:gd name="connsiteX2" fmla="*/ 0 w 14203"/>
                      <a:gd name="connsiteY2" fmla="*/ 7102 h 14203"/>
                      <a:gd name="connsiteX3" fmla="*/ 7102 w 14203"/>
                      <a:gd name="connsiteY3" fmla="*/ 14203 h 14203"/>
                      <a:gd name="connsiteX4" fmla="*/ 14203 w 14203"/>
                      <a:gd name="connsiteY4" fmla="*/ 7102 h 14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03" h="14203">
                        <a:moveTo>
                          <a:pt x="14203" y="7102"/>
                        </a:moveTo>
                        <a:cubicBezTo>
                          <a:pt x="14203" y="3181"/>
                          <a:pt x="11023" y="0"/>
                          <a:pt x="7102" y="0"/>
                        </a:cubicBezTo>
                        <a:cubicBezTo>
                          <a:pt x="3181" y="0"/>
                          <a:pt x="0" y="3181"/>
                          <a:pt x="0" y="7102"/>
                        </a:cubicBezTo>
                        <a:cubicBezTo>
                          <a:pt x="0" y="11023"/>
                          <a:pt x="3181" y="14203"/>
                          <a:pt x="7102" y="14203"/>
                        </a:cubicBezTo>
                        <a:cubicBezTo>
                          <a:pt x="11023" y="14203"/>
                          <a:pt x="14203" y="11023"/>
                          <a:pt x="14203" y="7102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63E11238-2F57-0AAE-A535-1F5EF95EE78B}"/>
                      </a:ext>
                    </a:extLst>
                  </p:cNvPr>
                  <p:cNvSpPr/>
                  <p:nvPr/>
                </p:nvSpPr>
                <p:spPr>
                  <a:xfrm>
                    <a:off x="5070976" y="6159779"/>
                    <a:ext cx="12174" cy="12174"/>
                  </a:xfrm>
                  <a:custGeom>
                    <a:avLst/>
                    <a:gdLst>
                      <a:gd name="connsiteX0" fmla="*/ 12174 w 12174"/>
                      <a:gd name="connsiteY0" fmla="*/ 6087 h 12174"/>
                      <a:gd name="connsiteX1" fmla="*/ 6087 w 12174"/>
                      <a:gd name="connsiteY1" fmla="*/ 0 h 12174"/>
                      <a:gd name="connsiteX2" fmla="*/ 0 w 12174"/>
                      <a:gd name="connsiteY2" fmla="*/ 6087 h 12174"/>
                      <a:gd name="connsiteX3" fmla="*/ 6087 w 12174"/>
                      <a:gd name="connsiteY3" fmla="*/ 12174 h 12174"/>
                      <a:gd name="connsiteX4" fmla="*/ 12174 w 12174"/>
                      <a:gd name="connsiteY4" fmla="*/ 6087 h 121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174" h="12174">
                        <a:moveTo>
                          <a:pt x="12174" y="6087"/>
                        </a:moveTo>
                        <a:cubicBezTo>
                          <a:pt x="12174" y="2742"/>
                          <a:pt x="9460" y="0"/>
                          <a:pt x="6087" y="0"/>
                        </a:cubicBezTo>
                        <a:cubicBezTo>
                          <a:pt x="2715" y="0"/>
                          <a:pt x="0" y="2715"/>
                          <a:pt x="0" y="6087"/>
                        </a:cubicBezTo>
                        <a:cubicBezTo>
                          <a:pt x="0" y="9460"/>
                          <a:pt x="2715" y="12174"/>
                          <a:pt x="6087" y="12174"/>
                        </a:cubicBezTo>
                        <a:cubicBezTo>
                          <a:pt x="9460" y="12174"/>
                          <a:pt x="12174" y="9460"/>
                          <a:pt x="12174" y="6087"/>
                        </a:cubicBezTo>
                        <a:close/>
                      </a:path>
                    </a:pathLst>
                  </a:custGeom>
                  <a:solidFill>
                    <a:srgbClr val="333333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6" name="Graphic 2">
                  <a:extLst>
                    <a:ext uri="{FF2B5EF4-FFF2-40B4-BE49-F238E27FC236}">
                      <a16:creationId xmlns:a16="http://schemas.microsoft.com/office/drawing/2014/main" id="{BA403328-AFF4-1CF9-1640-7D3BF6647E50}"/>
                    </a:ext>
                  </a:extLst>
                </p:cNvPr>
                <p:cNvGrpSpPr/>
                <p:nvPr/>
              </p:nvGrpSpPr>
              <p:grpSpPr>
                <a:xfrm>
                  <a:off x="5105196" y="6151663"/>
                  <a:ext cx="28708" cy="28872"/>
                  <a:chOff x="5105196" y="6151663"/>
                  <a:chExt cx="28708" cy="28872"/>
                </a:xfrm>
              </p:grpSpPr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9AB82536-D6D9-0CAC-310F-BDC37D3713E7}"/>
                      </a:ext>
                    </a:extLst>
                  </p:cNvPr>
                  <p:cNvSpPr/>
                  <p:nvPr/>
                </p:nvSpPr>
                <p:spPr>
                  <a:xfrm>
                    <a:off x="5105936" y="6152568"/>
                    <a:ext cx="27968" cy="27967"/>
                  </a:xfrm>
                  <a:custGeom>
                    <a:avLst/>
                    <a:gdLst>
                      <a:gd name="connsiteX0" fmla="*/ 27968 w 27968"/>
                      <a:gd name="connsiteY0" fmla="*/ 13984 h 27967"/>
                      <a:gd name="connsiteX1" fmla="*/ 13984 w 27968"/>
                      <a:gd name="connsiteY1" fmla="*/ 0 h 27967"/>
                      <a:gd name="connsiteX2" fmla="*/ 0 w 27968"/>
                      <a:gd name="connsiteY2" fmla="*/ 13984 h 27967"/>
                      <a:gd name="connsiteX3" fmla="*/ 13984 w 27968"/>
                      <a:gd name="connsiteY3" fmla="*/ 27968 h 27967"/>
                      <a:gd name="connsiteX4" fmla="*/ 27968 w 27968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8" h="27967">
                        <a:moveTo>
                          <a:pt x="27968" y="13984"/>
                        </a:moveTo>
                        <a:cubicBezTo>
                          <a:pt x="27968" y="6252"/>
                          <a:pt x="21716" y="0"/>
                          <a:pt x="13984" y="0"/>
                        </a:cubicBezTo>
                        <a:cubicBezTo>
                          <a:pt x="6252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: Shape 61">
                    <a:extLst>
                      <a:ext uri="{FF2B5EF4-FFF2-40B4-BE49-F238E27FC236}">
                        <a16:creationId xmlns:a16="http://schemas.microsoft.com/office/drawing/2014/main" id="{3CEC9BE2-12BE-E9CE-041E-5F2B49453A38}"/>
                      </a:ext>
                    </a:extLst>
                  </p:cNvPr>
                  <p:cNvSpPr/>
                  <p:nvPr/>
                </p:nvSpPr>
                <p:spPr>
                  <a:xfrm>
                    <a:off x="5105196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: Shape 62">
                    <a:extLst>
                      <a:ext uri="{FF2B5EF4-FFF2-40B4-BE49-F238E27FC236}">
                        <a16:creationId xmlns:a16="http://schemas.microsoft.com/office/drawing/2014/main" id="{84390741-3312-A92A-6F80-D202F754B758}"/>
                      </a:ext>
                    </a:extLst>
                  </p:cNvPr>
                  <p:cNvSpPr/>
                  <p:nvPr/>
                </p:nvSpPr>
                <p:spPr>
                  <a:xfrm>
                    <a:off x="5107197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7" name="Graphic 2">
                  <a:extLst>
                    <a:ext uri="{FF2B5EF4-FFF2-40B4-BE49-F238E27FC236}">
                      <a16:creationId xmlns:a16="http://schemas.microsoft.com/office/drawing/2014/main" id="{B711F3D9-1C0C-7EAF-C077-42C0A98DCD3D}"/>
                    </a:ext>
                  </a:extLst>
                </p:cNvPr>
                <p:cNvGrpSpPr/>
                <p:nvPr/>
              </p:nvGrpSpPr>
              <p:grpSpPr>
                <a:xfrm>
                  <a:off x="5147504" y="6151663"/>
                  <a:ext cx="28680" cy="28872"/>
                  <a:chOff x="5147504" y="6151663"/>
                  <a:chExt cx="28680" cy="28872"/>
                </a:xfrm>
              </p:grpSpPr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9C1D79F6-D662-B0B5-1B4E-87341373D761}"/>
                      </a:ext>
                    </a:extLst>
                  </p:cNvPr>
                  <p:cNvSpPr/>
                  <p:nvPr/>
                </p:nvSpPr>
                <p:spPr>
                  <a:xfrm>
                    <a:off x="5148217" y="6152568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0 h 27967"/>
                      <a:gd name="connsiteX2" fmla="*/ 0 w 27967"/>
                      <a:gd name="connsiteY2" fmla="*/ 13984 h 27967"/>
                      <a:gd name="connsiteX3" fmla="*/ 13984 w 27967"/>
                      <a:gd name="connsiteY3" fmla="*/ 27968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6252"/>
                          <a:pt x="21689" y="0"/>
                          <a:pt x="13984" y="0"/>
                        </a:cubicBezTo>
                        <a:cubicBezTo>
                          <a:pt x="6279" y="0"/>
                          <a:pt x="0" y="6279"/>
                          <a:pt x="0" y="13984"/>
                        </a:cubicBezTo>
                        <a:cubicBezTo>
                          <a:pt x="0" y="21689"/>
                          <a:pt x="6279" y="27968"/>
                          <a:pt x="13984" y="27968"/>
                        </a:cubicBezTo>
                        <a:cubicBezTo>
                          <a:pt x="21689" y="27968"/>
                          <a:pt x="27968" y="21689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58595B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62C43268-A14F-1706-33AB-9D06489D9A0E}"/>
                      </a:ext>
                    </a:extLst>
                  </p:cNvPr>
                  <p:cNvSpPr/>
                  <p:nvPr/>
                </p:nvSpPr>
                <p:spPr>
                  <a:xfrm>
                    <a:off x="5147504" y="6151663"/>
                    <a:ext cx="27967" cy="27967"/>
                  </a:xfrm>
                  <a:custGeom>
                    <a:avLst/>
                    <a:gdLst>
                      <a:gd name="connsiteX0" fmla="*/ 27968 w 27967"/>
                      <a:gd name="connsiteY0" fmla="*/ 13984 h 27967"/>
                      <a:gd name="connsiteX1" fmla="*/ 13984 w 27967"/>
                      <a:gd name="connsiteY1" fmla="*/ 27968 h 27967"/>
                      <a:gd name="connsiteX2" fmla="*/ 0 w 27967"/>
                      <a:gd name="connsiteY2" fmla="*/ 13984 h 27967"/>
                      <a:gd name="connsiteX3" fmla="*/ 13984 w 27967"/>
                      <a:gd name="connsiteY3" fmla="*/ 0 h 27967"/>
                      <a:gd name="connsiteX4" fmla="*/ 27968 w 27967"/>
                      <a:gd name="connsiteY4" fmla="*/ 13984 h 27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967" h="27967">
                        <a:moveTo>
                          <a:pt x="27968" y="13984"/>
                        </a:moveTo>
                        <a:cubicBezTo>
                          <a:pt x="27968" y="21707"/>
                          <a:pt x="21707" y="27968"/>
                          <a:pt x="13984" y="27968"/>
                        </a:cubicBezTo>
                        <a:cubicBezTo>
                          <a:pt x="6261" y="27968"/>
                          <a:pt x="0" y="21707"/>
                          <a:pt x="0" y="13984"/>
                        </a:cubicBezTo>
                        <a:cubicBezTo>
                          <a:pt x="0" y="6261"/>
                          <a:pt x="6261" y="0"/>
                          <a:pt x="13984" y="0"/>
                        </a:cubicBezTo>
                        <a:cubicBezTo>
                          <a:pt x="21707" y="0"/>
                          <a:pt x="27968" y="6261"/>
                          <a:pt x="27968" y="13984"/>
                        </a:cubicBezTo>
                        <a:close/>
                      </a:path>
                    </a:pathLst>
                  </a:custGeom>
                  <a:solidFill>
                    <a:srgbClr val="BCBEC0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: Shape 59">
                    <a:extLst>
                      <a:ext uri="{FF2B5EF4-FFF2-40B4-BE49-F238E27FC236}">
                        <a16:creationId xmlns:a16="http://schemas.microsoft.com/office/drawing/2014/main" id="{4D0C1C70-1D9C-9F63-6489-CEAEE63FD3C4}"/>
                      </a:ext>
                    </a:extLst>
                  </p:cNvPr>
                  <p:cNvSpPr/>
                  <p:nvPr/>
                </p:nvSpPr>
                <p:spPr>
                  <a:xfrm>
                    <a:off x="5149506" y="6153665"/>
                    <a:ext cx="23964" cy="23964"/>
                  </a:xfrm>
                  <a:custGeom>
                    <a:avLst/>
                    <a:gdLst>
                      <a:gd name="connsiteX0" fmla="*/ 23965 w 23964"/>
                      <a:gd name="connsiteY0" fmla="*/ 11982 h 23964"/>
                      <a:gd name="connsiteX1" fmla="*/ 11982 w 23964"/>
                      <a:gd name="connsiteY1" fmla="*/ 23965 h 23964"/>
                      <a:gd name="connsiteX2" fmla="*/ 0 w 23964"/>
                      <a:gd name="connsiteY2" fmla="*/ 11982 h 23964"/>
                      <a:gd name="connsiteX3" fmla="*/ 11982 w 23964"/>
                      <a:gd name="connsiteY3" fmla="*/ 0 h 23964"/>
                      <a:gd name="connsiteX4" fmla="*/ 23965 w 23964"/>
                      <a:gd name="connsiteY4" fmla="*/ 11982 h 239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964" h="23964">
                        <a:moveTo>
                          <a:pt x="23965" y="11982"/>
                        </a:moveTo>
                        <a:cubicBezTo>
                          <a:pt x="23965" y="18600"/>
                          <a:pt x="18600" y="23965"/>
                          <a:pt x="11982" y="23965"/>
                        </a:cubicBezTo>
                        <a:cubicBezTo>
                          <a:pt x="5365" y="23965"/>
                          <a:pt x="0" y="18600"/>
                          <a:pt x="0" y="11982"/>
                        </a:cubicBezTo>
                        <a:cubicBezTo>
                          <a:pt x="0" y="5365"/>
                          <a:pt x="5365" y="0"/>
                          <a:pt x="11982" y="0"/>
                        </a:cubicBezTo>
                        <a:cubicBezTo>
                          <a:pt x="18600" y="0"/>
                          <a:pt x="23965" y="5365"/>
                          <a:pt x="23965" y="11982"/>
                        </a:cubicBezTo>
                        <a:close/>
                      </a:path>
                    </a:pathLst>
                  </a:custGeom>
                  <a:solidFill>
                    <a:srgbClr val="4D4D4D"/>
                  </a:solidFill>
                  <a:ln w="274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7943">
                      <a:buClrTx/>
                    </a:pPr>
                    <a:endParaRPr lang="en-US" sz="1800" kern="1200">
                      <a:solidFill>
                        <a:srgbClr val="444444"/>
                      </a:solidFill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2" name="Graphic 2">
                <a:extLst>
                  <a:ext uri="{FF2B5EF4-FFF2-40B4-BE49-F238E27FC236}">
                    <a16:creationId xmlns:a16="http://schemas.microsoft.com/office/drawing/2014/main" id="{9B51333F-FC5C-E23A-5626-AE775CD7C25B}"/>
                  </a:ext>
                </a:extLst>
              </p:cNvPr>
              <p:cNvGrpSpPr/>
              <p:nvPr/>
            </p:nvGrpSpPr>
            <p:grpSpPr>
              <a:xfrm>
                <a:off x="3103267" y="6140915"/>
                <a:ext cx="532268" cy="27748"/>
                <a:chOff x="3103267" y="6140915"/>
                <a:chExt cx="532268" cy="27748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B1D8B3FB-FAC2-B841-5871-A40190338203}"/>
                    </a:ext>
                  </a:extLst>
                </p:cNvPr>
                <p:cNvSpPr/>
                <p:nvPr/>
              </p:nvSpPr>
              <p:spPr>
                <a:xfrm>
                  <a:off x="3103267" y="6140915"/>
                  <a:ext cx="532240" cy="27748"/>
                </a:xfrm>
                <a:custGeom>
                  <a:avLst/>
                  <a:gdLst>
                    <a:gd name="connsiteX0" fmla="*/ 266381 w 532240"/>
                    <a:gd name="connsiteY0" fmla="*/ 0 h 27748"/>
                    <a:gd name="connsiteX1" fmla="*/ 0 w 532240"/>
                    <a:gd name="connsiteY1" fmla="*/ 0 h 27748"/>
                    <a:gd name="connsiteX2" fmla="*/ 63010 w 532240"/>
                    <a:gd name="connsiteY2" fmla="*/ 27749 h 27748"/>
                    <a:gd name="connsiteX3" fmla="*/ 469231 w 532240"/>
                    <a:gd name="connsiteY3" fmla="*/ 27749 h 27748"/>
                    <a:gd name="connsiteX4" fmla="*/ 532241 w 532240"/>
                    <a:gd name="connsiteY4" fmla="*/ 0 h 27748"/>
                    <a:gd name="connsiteX5" fmla="*/ 266381 w 532240"/>
                    <a:gd name="connsiteY5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32240" h="27748">
                      <a:moveTo>
                        <a:pt x="266381" y="0"/>
                      </a:moveTo>
                      <a:lnTo>
                        <a:pt x="0" y="0"/>
                      </a:lnTo>
                      <a:cubicBezTo>
                        <a:pt x="0" y="0"/>
                        <a:pt x="5868" y="27749"/>
                        <a:pt x="63010" y="27749"/>
                      </a:cubicBezTo>
                      <a:lnTo>
                        <a:pt x="469231" y="27749"/>
                      </a:lnTo>
                      <a:cubicBezTo>
                        <a:pt x="526373" y="27749"/>
                        <a:pt x="532241" y="0"/>
                        <a:pt x="532241" y="0"/>
                      </a:cubicBezTo>
                      <a:lnTo>
                        <a:pt x="26638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007943">
                    <a:buClrTx/>
                  </a:pPr>
                  <a:endParaRPr lang="en-US" sz="1800" kern="1200">
                    <a:solidFill>
                      <a:srgbClr val="444444"/>
                    </a:solidFill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F92D3D9C-4FA0-499F-4060-6EA61EDF66BE}"/>
                    </a:ext>
                  </a:extLst>
                </p:cNvPr>
                <p:cNvSpPr/>
                <p:nvPr/>
              </p:nvSpPr>
              <p:spPr>
                <a:xfrm>
                  <a:off x="3123338" y="6140915"/>
                  <a:ext cx="512197" cy="27748"/>
                </a:xfrm>
                <a:custGeom>
                  <a:avLst/>
                  <a:gdLst>
                    <a:gd name="connsiteX0" fmla="*/ 502299 w 512197"/>
                    <a:gd name="connsiteY0" fmla="*/ 0 h 27748"/>
                    <a:gd name="connsiteX1" fmla="*/ 440056 w 512197"/>
                    <a:gd name="connsiteY1" fmla="*/ 24349 h 27748"/>
                    <a:gd name="connsiteX2" fmla="*/ 36166 w 512197"/>
                    <a:gd name="connsiteY2" fmla="*/ 24349 h 27748"/>
                    <a:gd name="connsiteX3" fmla="*/ 0 w 512197"/>
                    <a:gd name="connsiteY3" fmla="*/ 19989 h 27748"/>
                    <a:gd name="connsiteX4" fmla="*/ 45187 w 512197"/>
                    <a:gd name="connsiteY4" fmla="*/ 27749 h 27748"/>
                    <a:gd name="connsiteX5" fmla="*/ 449077 w 512197"/>
                    <a:gd name="connsiteY5" fmla="*/ 27749 h 27748"/>
                    <a:gd name="connsiteX6" fmla="*/ 512197 w 512197"/>
                    <a:gd name="connsiteY6" fmla="*/ 0 h 27748"/>
                    <a:gd name="connsiteX7" fmla="*/ 502326 w 512197"/>
                    <a:gd name="connsiteY7" fmla="*/ 0 h 2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12197" h="27748">
                      <a:moveTo>
                        <a:pt x="502299" y="0"/>
                      </a:moveTo>
                      <a:cubicBezTo>
                        <a:pt x="499392" y="9295"/>
                        <a:pt x="483544" y="24349"/>
                        <a:pt x="440056" y="24349"/>
                      </a:cubicBezTo>
                      <a:lnTo>
                        <a:pt x="36166" y="24349"/>
                      </a:lnTo>
                      <a:cubicBezTo>
                        <a:pt x="20565" y="24349"/>
                        <a:pt x="8829" y="22649"/>
                        <a:pt x="0" y="19989"/>
                      </a:cubicBezTo>
                      <a:cubicBezTo>
                        <a:pt x="9350" y="24349"/>
                        <a:pt x="23553" y="27749"/>
                        <a:pt x="45187" y="27749"/>
                      </a:cubicBezTo>
                      <a:lnTo>
                        <a:pt x="449077" y="27749"/>
                      </a:lnTo>
                      <a:cubicBezTo>
                        <a:pt x="505891" y="27749"/>
                        <a:pt x="512197" y="0"/>
                        <a:pt x="512197" y="0"/>
                      </a:cubicBezTo>
                      <a:lnTo>
                        <a:pt x="502326" y="0"/>
                      </a:lnTo>
                      <a:close/>
                    </a:path>
                  </a:pathLst>
                </a:custGeom>
                <a:solidFill>
                  <a:srgbClr val="D1D3D4"/>
                </a:solidFill>
                <a:ln w="27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007943">
                    <a:buClrTx/>
                  </a:pPr>
                  <a:endParaRPr lang="en-US" sz="1800" kern="1200">
                    <a:solidFill>
                      <a:srgbClr val="444444"/>
                    </a:solidFill>
                    <a:ea typeface="+mn-ea"/>
                    <a:cs typeface="+mn-cs"/>
                  </a:endParaRPr>
                </a:p>
              </p:txBody>
            </p:sp>
          </p:grpSp>
        </p:grpSp>
      </p:grpSp>
      <p:pic>
        <p:nvPicPr>
          <p:cNvPr id="163" name="Picture 162">
            <a:extLst>
              <a:ext uri="{FF2B5EF4-FFF2-40B4-BE49-F238E27FC236}">
                <a16:creationId xmlns:a16="http://schemas.microsoft.com/office/drawing/2014/main" id="{AD25483B-9E35-EE82-1B58-3FD57D9795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9061" y="2024134"/>
            <a:ext cx="3167261" cy="191601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4049970-A4FC-E703-56F8-F87E8EC94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03" y="618028"/>
            <a:ext cx="12224640" cy="366447"/>
          </a:xfrm>
        </p:spPr>
        <p:txBody>
          <a:bodyPr vert="horz"/>
          <a:lstStyle/>
          <a:p>
            <a:r>
              <a:rPr lang="en-US" sz="2646" kern="1200" dirty="0">
                <a:solidFill>
                  <a:schemeClr val="bg2"/>
                </a:solidFill>
                <a:latin typeface="Franklin Gothic Demi" panose="020B0703020102020204" pitchFamily="34" charset="0"/>
                <a:ea typeface="+mj-ea"/>
                <a:cs typeface="Calibri" panose="020F0502020204030204" pitchFamily="34" charset="0"/>
              </a:rPr>
              <a:t>Web Scraping Tool for Second-Hand Car Sales</a:t>
            </a:r>
          </a:p>
        </p:txBody>
      </p:sp>
      <p:sp>
        <p:nvSpPr>
          <p:cNvPr id="15" name="Google Shape;831;p25">
            <a:extLst>
              <a:ext uri="{FF2B5EF4-FFF2-40B4-BE49-F238E27FC236}">
                <a16:creationId xmlns:a16="http://schemas.microsoft.com/office/drawing/2014/main" id="{BE9AC918-EE64-3C38-B970-B1FD8371B223}"/>
              </a:ext>
            </a:extLst>
          </p:cNvPr>
          <p:cNvSpPr>
            <a:spLocks/>
          </p:cNvSpPr>
          <p:nvPr/>
        </p:nvSpPr>
        <p:spPr>
          <a:xfrm>
            <a:off x="572656" y="1817170"/>
            <a:ext cx="5814094" cy="5521593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1007943">
              <a:lnSpc>
                <a:spcPct val="130769"/>
              </a:lnSpc>
              <a:buClr>
                <a:srgbClr val="00B9FF"/>
              </a:buClr>
              <a:buSzPts val="1300"/>
            </a:pPr>
            <a:endParaRPr lang="en-US" sz="1800" kern="1200" dirty="0">
              <a:solidFill>
                <a:srgbClr val="444444"/>
              </a:solidFill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2784F6-932D-341C-D037-8170B94B3351}"/>
              </a:ext>
            </a:extLst>
          </p:cNvPr>
          <p:cNvSpPr txBox="1"/>
          <p:nvPr/>
        </p:nvSpPr>
        <p:spPr>
          <a:xfrm>
            <a:off x="759061" y="2380785"/>
            <a:ext cx="5451900" cy="485401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3737" indent="-173737" defTabSz="1007943">
              <a:lnSpc>
                <a:spcPts val="1920"/>
              </a:lnSpc>
              <a:buClrTx/>
            </a:pPr>
            <a:r>
              <a:rPr lang="en-US" sz="1764" b="1" kern="12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Establishing Data Collection Requirements</a:t>
            </a:r>
            <a:endParaRPr lang="en-US" sz="1764" kern="1200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007943">
              <a:lnSpc>
                <a:spcPts val="1920"/>
              </a:lnSpc>
              <a:spcBef>
                <a:spcPts val="600"/>
              </a:spcBef>
              <a:buClr>
                <a:srgbClr val="0F47F2"/>
              </a:buClr>
              <a:buSzPts val="1400"/>
            </a:pP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cation and selection of </a:t>
            </a:r>
            <a:r>
              <a:rPr lang="en-US" sz="1600" b="1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15 core data elements crucial for analysis</a:t>
            </a: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nabling the client to perform comprehensive insights generation.</a:t>
            </a:r>
          </a:p>
          <a:p>
            <a:pPr marL="173737" indent="-173737" defTabSz="1007943">
              <a:lnSpc>
                <a:spcPts val="1920"/>
              </a:lnSpc>
              <a:spcBef>
                <a:spcPts val="600"/>
              </a:spcBef>
              <a:buClr>
                <a:srgbClr val="E6EBF5"/>
              </a:buClr>
            </a:pPr>
            <a:r>
              <a:rPr lang="en-US" sz="1764" b="1" kern="12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eveloping a Data Collection Plan and Storage</a:t>
            </a:r>
          </a:p>
          <a:p>
            <a:pPr defTabSz="1007943">
              <a:lnSpc>
                <a:spcPts val="1920"/>
              </a:lnSpc>
              <a:spcBef>
                <a:spcPts val="600"/>
              </a:spcBef>
              <a:buClr>
                <a:srgbClr val="0F47F2"/>
              </a:buClr>
              <a:buSzPts val="1400"/>
            </a:pP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Implementation of a </a:t>
            </a:r>
            <a:r>
              <a:rPr lang="en-US" sz="1600" b="1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aily automated process</a:t>
            </a: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 to pull car listings from across the country, creating an up-to-date database for analysis purposes.</a:t>
            </a:r>
          </a:p>
          <a:p>
            <a:pPr marL="173737" indent="-173737" defTabSz="1007943">
              <a:lnSpc>
                <a:spcPts val="1920"/>
              </a:lnSpc>
              <a:spcBef>
                <a:spcPts val="600"/>
              </a:spcBef>
              <a:buClr>
                <a:srgbClr val="E6EBF5"/>
              </a:buClr>
            </a:pPr>
            <a:r>
              <a:rPr lang="en-US" sz="1764" b="1" kern="12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Designing a graphical user interface (GUI)</a:t>
            </a:r>
          </a:p>
          <a:p>
            <a:pPr defTabSz="1007943">
              <a:lnSpc>
                <a:spcPts val="1920"/>
              </a:lnSpc>
              <a:spcBef>
                <a:spcPts val="600"/>
              </a:spcBef>
              <a:buClr>
                <a:srgbClr val="0F47F2"/>
              </a:buClr>
              <a:buSzPts val="1400"/>
            </a:pP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ment of </a:t>
            </a:r>
            <a:r>
              <a:rPr lang="en-US" sz="1600" b="1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user-friendly GUI </a:t>
            </a: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t allows the client to effortlessly select specific car brands/models and collect data on demand.</a:t>
            </a:r>
          </a:p>
          <a:p>
            <a:pPr marL="173737" indent="-173737" defTabSz="1007943">
              <a:lnSpc>
                <a:spcPts val="1920"/>
              </a:lnSpc>
              <a:spcBef>
                <a:spcPts val="600"/>
              </a:spcBef>
              <a:buClr>
                <a:srgbClr val="E6EBF5"/>
              </a:buClr>
            </a:pPr>
            <a:r>
              <a:rPr lang="en-US" sz="1764" b="1" kern="12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Cleaning and preprocessing the data</a:t>
            </a:r>
            <a:endParaRPr lang="en-US" sz="1764" b="1" kern="1200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007943">
              <a:lnSpc>
                <a:spcPts val="1920"/>
              </a:lnSpc>
              <a:spcBef>
                <a:spcPts val="600"/>
              </a:spcBef>
              <a:buClr>
                <a:srgbClr val="0F47F2"/>
              </a:buClr>
              <a:buSzPts val="1400"/>
            </a:pP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Built of </a:t>
            </a:r>
            <a:r>
              <a:rPr lang="en-US" sz="1600" b="1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robust cleaning and preprocessing techniques </a:t>
            </a:r>
            <a:r>
              <a:rPr lang="en-US" sz="1600" kern="1200" dirty="0">
                <a:solidFill>
                  <a:srgbClr val="44444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rPr>
              <a:t>to enhance data quality and usability, including removing duplicates, correcting inconsistencies, and standardizing data formats.</a:t>
            </a:r>
          </a:p>
          <a:p>
            <a:pPr marL="173737" indent="-173737" defTabSz="1007943">
              <a:lnSpc>
                <a:spcPts val="1920"/>
              </a:lnSpc>
              <a:buClrTx/>
            </a:pPr>
            <a:endParaRPr lang="en-US" sz="1800" kern="1200" dirty="0">
              <a:solidFill>
                <a:srgbClr val="44444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B7DC795B-D0F1-1AA2-2393-D9E74965906E}"/>
              </a:ext>
            </a:extLst>
          </p:cNvPr>
          <p:cNvGrpSpPr/>
          <p:nvPr/>
        </p:nvGrpSpPr>
        <p:grpSpPr>
          <a:xfrm>
            <a:off x="8779391" y="3642766"/>
            <a:ext cx="4372505" cy="3352211"/>
            <a:chOff x="4662343" y="2693866"/>
            <a:chExt cx="4610513" cy="3534681"/>
          </a:xfrm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4EEFE0D-C9A1-2441-93CB-02C05551B254}"/>
                </a:ext>
              </a:extLst>
            </p:cNvPr>
            <p:cNvSpPr/>
            <p:nvPr/>
          </p:nvSpPr>
          <p:spPr>
            <a:xfrm>
              <a:off x="4662343" y="2693866"/>
              <a:ext cx="4610513" cy="2788869"/>
            </a:xfrm>
            <a:custGeom>
              <a:avLst/>
              <a:gdLst>
                <a:gd name="connsiteX0" fmla="*/ 129502 w 4610513"/>
                <a:gd name="connsiteY0" fmla="*/ 0 h 2788869"/>
                <a:gd name="connsiteX1" fmla="*/ 4481011 w 4610513"/>
                <a:gd name="connsiteY1" fmla="*/ 0 h 2788869"/>
                <a:gd name="connsiteX2" fmla="*/ 4610514 w 4610513"/>
                <a:gd name="connsiteY2" fmla="*/ 129502 h 2788869"/>
                <a:gd name="connsiteX3" fmla="*/ 4610514 w 4610513"/>
                <a:gd name="connsiteY3" fmla="*/ 2659367 h 2788869"/>
                <a:gd name="connsiteX4" fmla="*/ 4481011 w 4610513"/>
                <a:gd name="connsiteY4" fmla="*/ 2788870 h 2788869"/>
                <a:gd name="connsiteX5" fmla="*/ 129502 w 4610513"/>
                <a:gd name="connsiteY5" fmla="*/ 2788870 h 2788869"/>
                <a:gd name="connsiteX6" fmla="*/ 0 w 4610513"/>
                <a:gd name="connsiteY6" fmla="*/ 2659367 h 2788869"/>
                <a:gd name="connsiteX7" fmla="*/ 0 w 4610513"/>
                <a:gd name="connsiteY7" fmla="*/ 129502 h 2788869"/>
                <a:gd name="connsiteX8" fmla="*/ 129502 w 4610513"/>
                <a:gd name="connsiteY8" fmla="*/ 0 h 278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0513" h="2788869">
                  <a:moveTo>
                    <a:pt x="129502" y="0"/>
                  </a:moveTo>
                  <a:lnTo>
                    <a:pt x="4481011" y="0"/>
                  </a:lnTo>
                  <a:cubicBezTo>
                    <a:pt x="4552494" y="0"/>
                    <a:pt x="4610514" y="58020"/>
                    <a:pt x="4610514" y="129502"/>
                  </a:cubicBezTo>
                  <a:lnTo>
                    <a:pt x="4610514" y="2659367"/>
                  </a:lnTo>
                  <a:cubicBezTo>
                    <a:pt x="4610514" y="2730850"/>
                    <a:pt x="4552467" y="2788870"/>
                    <a:pt x="4481011" y="2788870"/>
                  </a:cubicBezTo>
                  <a:lnTo>
                    <a:pt x="129502" y="2788870"/>
                  </a:lnTo>
                  <a:cubicBezTo>
                    <a:pt x="58020" y="2788870"/>
                    <a:pt x="0" y="2730850"/>
                    <a:pt x="0" y="2659367"/>
                  </a:cubicBezTo>
                  <a:lnTo>
                    <a:pt x="0" y="129502"/>
                  </a:lnTo>
                  <a:cubicBezTo>
                    <a:pt x="0" y="58020"/>
                    <a:pt x="58020" y="0"/>
                    <a:pt x="129502" y="0"/>
                  </a:cubicBezTo>
                  <a:close/>
                </a:path>
              </a:pathLst>
            </a:custGeom>
            <a:solidFill>
              <a:srgbClr val="000000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07943">
                <a:buClrTx/>
              </a:pPr>
              <a:endParaRPr lang="en-US" sz="1800" kern="1200">
                <a:solidFill>
                  <a:srgbClr val="444444"/>
                </a:solidFill>
                <a:ea typeface="+mn-ea"/>
                <a:cs typeface="+mn-cs"/>
              </a:endParaRPr>
            </a:p>
          </p:txBody>
        </p:sp>
        <p:grpSp>
          <p:nvGrpSpPr>
            <p:cNvPr id="143" name="Graphic 2">
              <a:extLst>
                <a:ext uri="{FF2B5EF4-FFF2-40B4-BE49-F238E27FC236}">
                  <a16:creationId xmlns:a16="http://schemas.microsoft.com/office/drawing/2014/main" id="{57B97A73-B410-9EB5-B988-01688F68DEAC}"/>
                </a:ext>
              </a:extLst>
            </p:cNvPr>
            <p:cNvGrpSpPr/>
            <p:nvPr/>
          </p:nvGrpSpPr>
          <p:grpSpPr>
            <a:xfrm>
              <a:off x="6249770" y="5482791"/>
              <a:ext cx="1435672" cy="745756"/>
              <a:chOff x="6249770" y="5482791"/>
              <a:chExt cx="1435672" cy="745756"/>
            </a:xfrm>
          </p:grpSpPr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44786122-2120-6E6A-72BE-D6D0E97D5508}"/>
                  </a:ext>
                </a:extLst>
              </p:cNvPr>
              <p:cNvSpPr/>
              <p:nvPr/>
            </p:nvSpPr>
            <p:spPr>
              <a:xfrm>
                <a:off x="6249770" y="5482791"/>
                <a:ext cx="1435604" cy="744495"/>
              </a:xfrm>
              <a:custGeom>
                <a:avLst/>
                <a:gdLst>
                  <a:gd name="connsiteX0" fmla="*/ 1435605 w 1435604"/>
                  <a:gd name="connsiteY0" fmla="*/ 703449 h 744495"/>
                  <a:gd name="connsiteX1" fmla="*/ 1345422 w 1435604"/>
                  <a:gd name="connsiteY1" fmla="*/ 643619 h 744495"/>
                  <a:gd name="connsiteX2" fmla="*/ 1221897 w 1435604"/>
                  <a:gd name="connsiteY2" fmla="*/ 529828 h 744495"/>
                  <a:gd name="connsiteX3" fmla="*/ 1144464 w 1435604"/>
                  <a:gd name="connsiteY3" fmla="*/ 0 h 744495"/>
                  <a:gd name="connsiteX4" fmla="*/ 291141 w 1435604"/>
                  <a:gd name="connsiteY4" fmla="*/ 0 h 744495"/>
                  <a:gd name="connsiteX5" fmla="*/ 213681 w 1435604"/>
                  <a:gd name="connsiteY5" fmla="*/ 529828 h 744495"/>
                  <a:gd name="connsiteX6" fmla="*/ 90183 w 1435604"/>
                  <a:gd name="connsiteY6" fmla="*/ 643619 h 744495"/>
                  <a:gd name="connsiteX7" fmla="*/ 0 w 1435604"/>
                  <a:gd name="connsiteY7" fmla="*/ 703449 h 744495"/>
                  <a:gd name="connsiteX8" fmla="*/ 0 w 1435604"/>
                  <a:gd name="connsiteY8" fmla="*/ 724781 h 744495"/>
                  <a:gd name="connsiteX9" fmla="*/ 224703 w 1435604"/>
                  <a:gd name="connsiteY9" fmla="*/ 744496 h 744495"/>
                  <a:gd name="connsiteX10" fmla="*/ 1210874 w 1435604"/>
                  <a:gd name="connsiteY10" fmla="*/ 744496 h 744495"/>
                  <a:gd name="connsiteX11" fmla="*/ 1435605 w 1435604"/>
                  <a:gd name="connsiteY11" fmla="*/ 724781 h 744495"/>
                  <a:gd name="connsiteX12" fmla="*/ 1435605 w 1435604"/>
                  <a:gd name="connsiteY12" fmla="*/ 703449 h 744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5604" h="744495">
                    <a:moveTo>
                      <a:pt x="1435605" y="703449"/>
                    </a:moveTo>
                    <a:cubicBezTo>
                      <a:pt x="1435605" y="703449"/>
                      <a:pt x="1425432" y="663526"/>
                      <a:pt x="1345422" y="643619"/>
                    </a:cubicBezTo>
                    <a:cubicBezTo>
                      <a:pt x="1265440" y="623712"/>
                      <a:pt x="1238376" y="600927"/>
                      <a:pt x="1221897" y="529828"/>
                    </a:cubicBezTo>
                    <a:cubicBezTo>
                      <a:pt x="1205445" y="458702"/>
                      <a:pt x="1144464" y="0"/>
                      <a:pt x="1144464" y="0"/>
                    </a:cubicBezTo>
                    <a:lnTo>
                      <a:pt x="291141" y="0"/>
                    </a:lnTo>
                    <a:cubicBezTo>
                      <a:pt x="291141" y="0"/>
                      <a:pt x="230160" y="458702"/>
                      <a:pt x="213681" y="529828"/>
                    </a:cubicBezTo>
                    <a:cubicBezTo>
                      <a:pt x="197229" y="600954"/>
                      <a:pt x="170166" y="623712"/>
                      <a:pt x="90183" y="643619"/>
                    </a:cubicBezTo>
                    <a:cubicBezTo>
                      <a:pt x="10200" y="663526"/>
                      <a:pt x="0" y="703449"/>
                      <a:pt x="0" y="703449"/>
                    </a:cubicBezTo>
                    <a:lnTo>
                      <a:pt x="0" y="724781"/>
                    </a:lnTo>
                    <a:cubicBezTo>
                      <a:pt x="0" y="724781"/>
                      <a:pt x="26542" y="744496"/>
                      <a:pt x="224703" y="744496"/>
                    </a:cubicBezTo>
                    <a:lnTo>
                      <a:pt x="1210874" y="744496"/>
                    </a:lnTo>
                    <a:cubicBezTo>
                      <a:pt x="1409036" y="744496"/>
                      <a:pt x="1435605" y="724781"/>
                      <a:pt x="1435605" y="724781"/>
                    </a:cubicBezTo>
                    <a:lnTo>
                      <a:pt x="1435605" y="703449"/>
                    </a:lnTo>
                    <a:close/>
                  </a:path>
                </a:pathLst>
              </a:custGeom>
              <a:gradFill>
                <a:gsLst>
                  <a:gs pos="0">
                    <a:srgbClr val="F3F4F4"/>
                  </a:gs>
                  <a:gs pos="11000">
                    <a:srgbClr val="CCCDCF"/>
                  </a:gs>
                  <a:gs pos="19000">
                    <a:srgbClr val="B3B5B8"/>
                  </a:gs>
                  <a:gs pos="24000">
                    <a:srgbClr val="ABADB0"/>
                  </a:gs>
                  <a:gs pos="35000">
                    <a:srgbClr val="E6E7E8"/>
                  </a:gs>
                  <a:gs pos="61000">
                    <a:srgbClr val="C7C8CA"/>
                  </a:gs>
                  <a:gs pos="99000">
                    <a:srgbClr val="8A8C8E"/>
                  </a:gs>
                </a:gsLst>
                <a:lin ang="16200000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6AB1E2A6-FB3D-B9B0-BAE1-E939D143A384}"/>
                  </a:ext>
                </a:extLst>
              </p:cNvPr>
              <p:cNvSpPr/>
              <p:nvPr/>
            </p:nvSpPr>
            <p:spPr>
              <a:xfrm>
                <a:off x="6249804" y="6185444"/>
                <a:ext cx="1435637" cy="43103"/>
              </a:xfrm>
              <a:custGeom>
                <a:avLst/>
                <a:gdLst>
                  <a:gd name="connsiteX0" fmla="*/ 1435269 w 1435637"/>
                  <a:gd name="connsiteY0" fmla="*/ 0 h 43103"/>
                  <a:gd name="connsiteX1" fmla="*/ 1210867 w 1435637"/>
                  <a:gd name="connsiteY1" fmla="*/ 19358 h 43103"/>
                  <a:gd name="connsiteX2" fmla="*/ 224696 w 1435637"/>
                  <a:gd name="connsiteY2" fmla="*/ 19358 h 43103"/>
                  <a:gd name="connsiteX3" fmla="*/ 322 w 1435637"/>
                  <a:gd name="connsiteY3" fmla="*/ 0 h 43103"/>
                  <a:gd name="connsiteX4" fmla="*/ 20 w 1435637"/>
                  <a:gd name="connsiteY4" fmla="*/ 2029 h 43103"/>
                  <a:gd name="connsiteX5" fmla="*/ 20 w 1435637"/>
                  <a:gd name="connsiteY5" fmla="*/ 23389 h 43103"/>
                  <a:gd name="connsiteX6" fmla="*/ 224723 w 1435637"/>
                  <a:gd name="connsiteY6" fmla="*/ 43103 h 43103"/>
                  <a:gd name="connsiteX7" fmla="*/ 1210895 w 1435637"/>
                  <a:gd name="connsiteY7" fmla="*/ 43103 h 43103"/>
                  <a:gd name="connsiteX8" fmla="*/ 1435625 w 1435637"/>
                  <a:gd name="connsiteY8" fmla="*/ 23389 h 43103"/>
                  <a:gd name="connsiteX9" fmla="*/ 1435625 w 1435637"/>
                  <a:gd name="connsiteY9" fmla="*/ 2029 h 43103"/>
                  <a:gd name="connsiteX10" fmla="*/ 1435297 w 1435637"/>
                  <a:gd name="connsiteY10" fmla="*/ 0 h 43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5637" h="43103">
                    <a:moveTo>
                      <a:pt x="1435269" y="0"/>
                    </a:moveTo>
                    <a:cubicBezTo>
                      <a:pt x="1432363" y="2660"/>
                      <a:pt x="1393235" y="19358"/>
                      <a:pt x="1210867" y="19358"/>
                    </a:cubicBezTo>
                    <a:lnTo>
                      <a:pt x="224696" y="19358"/>
                    </a:lnTo>
                    <a:cubicBezTo>
                      <a:pt x="42329" y="19358"/>
                      <a:pt x="3201" y="2660"/>
                      <a:pt x="322" y="0"/>
                    </a:cubicBezTo>
                    <a:cubicBezTo>
                      <a:pt x="-117" y="1316"/>
                      <a:pt x="20" y="2029"/>
                      <a:pt x="20" y="2029"/>
                    </a:cubicBezTo>
                    <a:lnTo>
                      <a:pt x="20" y="23389"/>
                    </a:lnTo>
                    <a:cubicBezTo>
                      <a:pt x="20" y="23389"/>
                      <a:pt x="26563" y="43103"/>
                      <a:pt x="224723" y="43103"/>
                    </a:cubicBezTo>
                    <a:lnTo>
                      <a:pt x="1210895" y="43103"/>
                    </a:lnTo>
                    <a:cubicBezTo>
                      <a:pt x="1409056" y="43103"/>
                      <a:pt x="1435625" y="23389"/>
                      <a:pt x="1435625" y="23389"/>
                    </a:cubicBezTo>
                    <a:lnTo>
                      <a:pt x="1435625" y="2029"/>
                    </a:lnTo>
                    <a:cubicBezTo>
                      <a:pt x="1435625" y="2029"/>
                      <a:pt x="1435735" y="1316"/>
                      <a:pt x="1435297" y="0"/>
                    </a:cubicBezTo>
                    <a:close/>
                  </a:path>
                </a:pathLst>
              </a:custGeom>
              <a:gradFill>
                <a:gsLst>
                  <a:gs pos="19000">
                    <a:srgbClr val="ABADB0"/>
                  </a:gs>
                  <a:gs pos="99000">
                    <a:srgbClr val="8A8C8E"/>
                  </a:gs>
                </a:gsLst>
                <a:lin ang="16799923" scaled="1"/>
              </a:gradFill>
              <a:ln w="2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007943">
                  <a:buClrTx/>
                </a:pPr>
                <a:endParaRPr lang="en-US" sz="1800" kern="1200">
                  <a:solidFill>
                    <a:srgbClr val="444444"/>
                  </a:solidFill>
                  <a:ea typeface="+mn-ea"/>
                  <a:cs typeface="+mn-cs"/>
                </a:endParaRPr>
              </a:p>
            </p:txBody>
          </p:sp>
        </p:grp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8BCD543B-24C9-ECF4-C099-DB130C2517E7}"/>
                </a:ext>
              </a:extLst>
            </p:cNvPr>
            <p:cNvSpPr/>
            <p:nvPr/>
          </p:nvSpPr>
          <p:spPr>
            <a:xfrm>
              <a:off x="6946363" y="2746594"/>
              <a:ext cx="42445" cy="42445"/>
            </a:xfrm>
            <a:custGeom>
              <a:avLst/>
              <a:gdLst>
                <a:gd name="connsiteX0" fmla="*/ 42445 w 42445"/>
                <a:gd name="connsiteY0" fmla="*/ 21223 h 42445"/>
                <a:gd name="connsiteX1" fmla="*/ 21250 w 42445"/>
                <a:gd name="connsiteY1" fmla="*/ 42445 h 42445"/>
                <a:gd name="connsiteX2" fmla="*/ 0 w 42445"/>
                <a:gd name="connsiteY2" fmla="*/ 21223 h 42445"/>
                <a:gd name="connsiteX3" fmla="*/ 21250 w 42445"/>
                <a:gd name="connsiteY3" fmla="*/ 0 h 42445"/>
                <a:gd name="connsiteX4" fmla="*/ 42445 w 42445"/>
                <a:gd name="connsiteY4" fmla="*/ 21223 h 42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45" h="42445">
                  <a:moveTo>
                    <a:pt x="42445" y="21223"/>
                  </a:moveTo>
                  <a:cubicBezTo>
                    <a:pt x="42445" y="32958"/>
                    <a:pt x="32958" y="42445"/>
                    <a:pt x="21250" y="42445"/>
                  </a:cubicBezTo>
                  <a:cubicBezTo>
                    <a:pt x="9542" y="42445"/>
                    <a:pt x="0" y="32958"/>
                    <a:pt x="0" y="21223"/>
                  </a:cubicBezTo>
                  <a:cubicBezTo>
                    <a:pt x="0" y="9487"/>
                    <a:pt x="9488" y="0"/>
                    <a:pt x="21250" y="0"/>
                  </a:cubicBezTo>
                  <a:cubicBezTo>
                    <a:pt x="33013" y="0"/>
                    <a:pt x="42445" y="9515"/>
                    <a:pt x="42445" y="21223"/>
                  </a:cubicBezTo>
                  <a:close/>
                </a:path>
              </a:pathLst>
            </a:custGeom>
            <a:solidFill>
              <a:srgbClr val="424143"/>
            </a:solidFill>
            <a:ln w="2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07943">
                <a:buClrTx/>
              </a:pPr>
              <a:endParaRPr lang="en-US" sz="1800" kern="1200">
                <a:solidFill>
                  <a:srgbClr val="444444"/>
                </a:solidFill>
                <a:ea typeface="+mn-ea"/>
                <a:cs typeface="+mn-cs"/>
              </a:endParaRPr>
            </a:p>
          </p:txBody>
        </p:sp>
      </p:grpSp>
      <p:sp>
        <p:nvSpPr>
          <p:cNvPr id="148" name="Google Shape;831;p25">
            <a:extLst>
              <a:ext uri="{FF2B5EF4-FFF2-40B4-BE49-F238E27FC236}">
                <a16:creationId xmlns:a16="http://schemas.microsoft.com/office/drawing/2014/main" id="{B86D9385-8DFA-86BD-7E83-90A29BF3CE8E}"/>
              </a:ext>
            </a:extLst>
          </p:cNvPr>
          <p:cNvSpPr>
            <a:spLocks/>
          </p:cNvSpPr>
          <p:nvPr/>
        </p:nvSpPr>
        <p:spPr>
          <a:xfrm>
            <a:off x="11698891" y="2130352"/>
            <a:ext cx="1564718" cy="1420868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3996" tIns="179995" rIns="143996" bIns="179995" anchor="t" anchorCtr="0">
            <a:noAutofit/>
          </a:bodyPr>
          <a:lstStyle/>
          <a:p>
            <a:pPr algn="ctr" defTabSz="1007943">
              <a:lnSpc>
                <a:spcPct val="130769"/>
              </a:lnSpc>
              <a:buClr>
                <a:srgbClr val="00B9FF"/>
              </a:buClr>
              <a:buSzPts val="1300"/>
            </a:pPr>
            <a:endParaRPr sz="1800" kern="1200" dirty="0">
              <a:solidFill>
                <a:srgbClr val="444444"/>
              </a:solidFill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2BCA8F3D-E6A4-A150-B6CD-217C61FABDC3}"/>
              </a:ext>
            </a:extLst>
          </p:cNvPr>
          <p:cNvSpPr>
            <a:spLocks/>
          </p:cNvSpPr>
          <p:nvPr/>
        </p:nvSpPr>
        <p:spPr>
          <a:xfrm>
            <a:off x="11834673" y="2207321"/>
            <a:ext cx="1293155" cy="1174272"/>
          </a:xfrm>
          <a:prstGeom prst="rect">
            <a:avLst/>
          </a:prstGeom>
          <a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326" b="-132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>
              <a:buClrTx/>
            </a:pPr>
            <a:endParaRPr lang="en-AE" sz="1800" kern="12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27FDA024-E37F-5419-35C7-F6C5DD8524D6}"/>
              </a:ext>
            </a:extLst>
          </p:cNvPr>
          <p:cNvGrpSpPr/>
          <p:nvPr/>
        </p:nvGrpSpPr>
        <p:grpSpPr>
          <a:xfrm>
            <a:off x="11099126" y="1865334"/>
            <a:ext cx="775144" cy="775144"/>
            <a:chOff x="4949498" y="6202259"/>
            <a:chExt cx="503992" cy="503992"/>
          </a:xfrm>
        </p:grpSpPr>
        <p:sp>
          <p:nvSpPr>
            <p:cNvPr id="151" name="Google Shape;558;p30">
              <a:extLst>
                <a:ext uri="{FF2B5EF4-FFF2-40B4-BE49-F238E27FC236}">
                  <a16:creationId xmlns:a16="http://schemas.microsoft.com/office/drawing/2014/main" id="{23575E16-6887-7F42-E087-9B0CDFCC5971}"/>
                </a:ext>
              </a:extLst>
            </p:cNvPr>
            <p:cNvSpPr/>
            <p:nvPr/>
          </p:nvSpPr>
          <p:spPr>
            <a:xfrm>
              <a:off x="4949498" y="6202259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1007943">
                <a:buClrTx/>
              </a:pPr>
              <a:endParaRPr sz="1601" kern="1200" dirty="0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2" name="Graphic 151">
              <a:extLst>
                <a:ext uri="{FF2B5EF4-FFF2-40B4-BE49-F238E27FC236}">
                  <a16:creationId xmlns:a16="http://schemas.microsoft.com/office/drawing/2014/main" id="{867280D5-F53A-3C87-BC68-6DC2B4317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47634" y="6329021"/>
              <a:ext cx="307720" cy="250469"/>
            </a:xfrm>
            <a:prstGeom prst="rect">
              <a:avLst/>
            </a:prstGeom>
          </p:spPr>
        </p:pic>
      </p:grpSp>
      <p:sp>
        <p:nvSpPr>
          <p:cNvPr id="153" name="Google Shape;545;p30">
            <a:extLst>
              <a:ext uri="{FF2B5EF4-FFF2-40B4-BE49-F238E27FC236}">
                <a16:creationId xmlns:a16="http://schemas.microsoft.com/office/drawing/2014/main" id="{8662C1D1-245B-E4D7-E5BD-D6EE8CF01945}"/>
              </a:ext>
            </a:extLst>
          </p:cNvPr>
          <p:cNvSpPr>
            <a:spLocks/>
          </p:cNvSpPr>
          <p:nvPr/>
        </p:nvSpPr>
        <p:spPr>
          <a:xfrm>
            <a:off x="572656" y="1545771"/>
            <a:ext cx="5824953" cy="790219"/>
          </a:xfrm>
          <a:prstGeom prst="round2SameRect">
            <a:avLst/>
          </a:prstGeom>
          <a:gradFill flip="none" rotWithShape="1">
            <a:gsLst>
              <a:gs pos="16000">
                <a:schemeClr val="bg2">
                  <a:lumMod val="50000"/>
                </a:schemeClr>
              </a:gs>
              <a:gs pos="46000">
                <a:schemeClr val="bg2"/>
              </a:gs>
              <a:gs pos="79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07943">
              <a:buClrTx/>
            </a:pPr>
            <a:r>
              <a:rPr lang="en-US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amlined</a:t>
            </a:r>
            <a:r>
              <a:rPr lang="fr-FR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lang="en-US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on</a:t>
            </a:r>
            <a:r>
              <a:rPr lang="fr-FR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84" b="1" kern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ology</a:t>
            </a:r>
          </a:p>
        </p:txBody>
      </p:sp>
      <p:sp>
        <p:nvSpPr>
          <p:cNvPr id="157" name="Arc 156">
            <a:extLst>
              <a:ext uri="{FF2B5EF4-FFF2-40B4-BE49-F238E27FC236}">
                <a16:creationId xmlns:a16="http://schemas.microsoft.com/office/drawing/2014/main" id="{515D8BFD-517F-79F2-EE94-49D766177446}"/>
              </a:ext>
            </a:extLst>
          </p:cNvPr>
          <p:cNvSpPr/>
          <p:nvPr/>
        </p:nvSpPr>
        <p:spPr>
          <a:xfrm>
            <a:off x="9834557" y="2640478"/>
            <a:ext cx="1860648" cy="1860648"/>
          </a:xfrm>
          <a:prstGeom prst="arc">
            <a:avLst/>
          </a:prstGeom>
          <a:ln w="127000">
            <a:solidFill>
              <a:schemeClr val="accent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007943">
              <a:buClrTx/>
            </a:pPr>
            <a:endParaRPr lang="en-US" sz="1800" kern="1200">
              <a:solidFill>
                <a:srgbClr val="444444"/>
              </a:solidFill>
              <a:latin typeface="Arial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A76E099-87A0-DA3A-9ECD-7FD6967A9BAD}"/>
              </a:ext>
            </a:extLst>
          </p:cNvPr>
          <p:cNvSpPr>
            <a:spLocks/>
          </p:cNvSpPr>
          <p:nvPr/>
        </p:nvSpPr>
        <p:spPr>
          <a:xfrm>
            <a:off x="8999132" y="3892221"/>
            <a:ext cx="3905926" cy="2086567"/>
          </a:xfrm>
          <a:prstGeom prst="rect">
            <a:avLst/>
          </a:prstGeom>
          <a:blipFill dpi="0"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882" t="-6700" r="-6320" b="-5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7943">
              <a:buClrTx/>
            </a:pPr>
            <a:endParaRPr lang="en-AE" sz="1800" kern="12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C2912C53-490B-265B-2621-1328EB647B07}"/>
              </a:ext>
            </a:extLst>
          </p:cNvPr>
          <p:cNvGrpSpPr/>
          <p:nvPr/>
        </p:nvGrpSpPr>
        <p:grpSpPr>
          <a:xfrm>
            <a:off x="8383125" y="3303369"/>
            <a:ext cx="775144" cy="775144"/>
            <a:chOff x="803725" y="4219935"/>
            <a:chExt cx="503992" cy="503992"/>
          </a:xfrm>
        </p:grpSpPr>
        <p:sp>
          <p:nvSpPr>
            <p:cNvPr id="155" name="Google Shape;554;p30">
              <a:extLst>
                <a:ext uri="{FF2B5EF4-FFF2-40B4-BE49-F238E27FC236}">
                  <a16:creationId xmlns:a16="http://schemas.microsoft.com/office/drawing/2014/main" id="{06756872-AE46-4F76-3767-69C4DF092A23}"/>
                </a:ext>
              </a:extLst>
            </p:cNvPr>
            <p:cNvSpPr/>
            <p:nvPr/>
          </p:nvSpPr>
          <p:spPr>
            <a:xfrm>
              <a:off x="803725" y="4219935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78" tIns="50374" rIns="100778" bIns="50374" anchor="ctr" anchorCtr="0">
              <a:noAutofit/>
            </a:bodyPr>
            <a:lstStyle/>
            <a:p>
              <a:pPr algn="ctr" defTabSz="1007943">
                <a:buClrTx/>
              </a:pPr>
              <a:endParaRPr sz="1601" kern="1200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6" name="Graphic 155">
              <a:extLst>
                <a:ext uri="{FF2B5EF4-FFF2-40B4-BE49-F238E27FC236}">
                  <a16:creationId xmlns:a16="http://schemas.microsoft.com/office/drawing/2014/main" id="{5B5B165E-EDA5-4589-4508-36483C1EF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15849" y="4358082"/>
              <a:ext cx="279745" cy="2276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1518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54A77-BB7A-EB9C-8368-5516B5E49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14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54A77-BB7A-EB9C-8368-5516B5E49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831;p25">
            <a:extLst>
              <a:ext uri="{FF2B5EF4-FFF2-40B4-BE49-F238E27FC236}">
                <a16:creationId xmlns:a16="http://schemas.microsoft.com/office/drawing/2014/main" id="{99843458-48B9-F9D3-2171-14DDCC9F2E32}"/>
              </a:ext>
            </a:extLst>
          </p:cNvPr>
          <p:cNvSpPr>
            <a:spLocks/>
          </p:cNvSpPr>
          <p:nvPr/>
        </p:nvSpPr>
        <p:spPr>
          <a:xfrm>
            <a:off x="885808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8" name="Google Shape;545;p30">
            <a:extLst>
              <a:ext uri="{FF2B5EF4-FFF2-40B4-BE49-F238E27FC236}">
                <a16:creationId xmlns:a16="http://schemas.microsoft.com/office/drawing/2014/main" id="{A91501ED-9DD9-C678-343D-27369F2039FC}"/>
              </a:ext>
            </a:extLst>
          </p:cNvPr>
          <p:cNvSpPr>
            <a:spLocks/>
          </p:cNvSpPr>
          <p:nvPr/>
        </p:nvSpPr>
        <p:spPr>
          <a:xfrm>
            <a:off x="8874142" y="1857288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4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Google Shape;831;p25">
            <a:extLst>
              <a:ext uri="{FF2B5EF4-FFF2-40B4-BE49-F238E27FC236}">
                <a16:creationId xmlns:a16="http://schemas.microsoft.com/office/drawing/2014/main" id="{45F75050-AFF6-96A7-9200-CE8416950749}"/>
              </a:ext>
            </a:extLst>
          </p:cNvPr>
          <p:cNvSpPr>
            <a:spLocks/>
          </p:cNvSpPr>
          <p:nvPr/>
        </p:nvSpPr>
        <p:spPr>
          <a:xfrm>
            <a:off x="470447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4" name="Google Shape;545;p30">
            <a:extLst>
              <a:ext uri="{FF2B5EF4-FFF2-40B4-BE49-F238E27FC236}">
                <a16:creationId xmlns:a16="http://schemas.microsoft.com/office/drawing/2014/main" id="{9EEEC381-5FD6-7FD5-F294-A1B182933697}"/>
              </a:ext>
            </a:extLst>
          </p:cNvPr>
          <p:cNvSpPr>
            <a:spLocks/>
          </p:cNvSpPr>
          <p:nvPr/>
        </p:nvSpPr>
        <p:spPr>
          <a:xfrm>
            <a:off x="4720637" y="1857288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4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Google Shape;831;p25">
            <a:extLst>
              <a:ext uri="{FF2B5EF4-FFF2-40B4-BE49-F238E27FC236}">
                <a16:creationId xmlns:a16="http://schemas.microsoft.com/office/drawing/2014/main" id="{DD892DA5-3790-CF0D-7A4C-90BB253C2261}"/>
              </a:ext>
            </a:extLst>
          </p:cNvPr>
          <p:cNvSpPr>
            <a:spLocks/>
          </p:cNvSpPr>
          <p:nvPr/>
        </p:nvSpPr>
        <p:spPr>
          <a:xfrm>
            <a:off x="55086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2" name="Google Shape;545;p30">
            <a:extLst>
              <a:ext uri="{FF2B5EF4-FFF2-40B4-BE49-F238E27FC236}">
                <a16:creationId xmlns:a16="http://schemas.microsoft.com/office/drawing/2014/main" id="{9C439C5A-7C6F-820B-3324-06AC0489E5B5}"/>
              </a:ext>
            </a:extLst>
          </p:cNvPr>
          <p:cNvSpPr>
            <a:spLocks/>
          </p:cNvSpPr>
          <p:nvPr/>
        </p:nvSpPr>
        <p:spPr>
          <a:xfrm>
            <a:off x="540045" y="1857375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4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C09CAF7-4B13-5FB4-5EE4-EBE644AC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0944699" cy="734047"/>
          </a:xfrm>
        </p:spPr>
        <p:txBody>
          <a:bodyPr vert="horz"/>
          <a:lstStyle/>
          <a:p>
            <a:r>
              <a:rPr lang="en-US" sz="2650" dirty="0"/>
              <a:t>Mapping Banking Services: An Analysis of Branch Locations and Demographic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7DC8BE14-B807-441C-F0F7-7D181DF07021}"/>
              </a:ext>
            </a:extLst>
          </p:cNvPr>
          <p:cNvSpPr>
            <a:spLocks/>
          </p:cNvSpPr>
          <p:nvPr/>
        </p:nvSpPr>
        <p:spPr>
          <a:xfrm flipH="1">
            <a:off x="11405937" y="617945"/>
            <a:ext cx="2033838" cy="977062"/>
          </a:xfrm>
          <a:prstGeom prst="homePlate">
            <a:avLst>
              <a:gd name="adj" fmla="val 15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9" name="Google Shape;547;p30">
            <a:extLst>
              <a:ext uri="{FF2B5EF4-FFF2-40B4-BE49-F238E27FC236}">
                <a16:creationId xmlns:a16="http://schemas.microsoft.com/office/drawing/2014/main" id="{EAE63BE1-FE86-B340-FC2C-EA76DE3EB231}"/>
              </a:ext>
            </a:extLst>
          </p:cNvPr>
          <p:cNvPicPr preferRelativeResize="0"/>
          <p:nvPr/>
        </p:nvPicPr>
        <p:blipFill rotWithShape="1">
          <a:blip r:embed="rId6" cstate="print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27040" y="677910"/>
            <a:ext cx="949173" cy="85713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563;p30">
            <a:extLst>
              <a:ext uri="{FF2B5EF4-FFF2-40B4-BE49-F238E27FC236}">
                <a16:creationId xmlns:a16="http://schemas.microsoft.com/office/drawing/2014/main" id="{4CB80CCA-133F-9BD2-147A-9131B6398180}"/>
              </a:ext>
            </a:extLst>
          </p:cNvPr>
          <p:cNvSpPr txBox="1">
            <a:spLocks/>
          </p:cNvSpPr>
          <p:nvPr/>
        </p:nvSpPr>
        <p:spPr>
          <a:xfrm>
            <a:off x="9046821" y="2719156"/>
            <a:ext cx="3663993" cy="3434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marL="173736" marR="0" lvl="0" indent="-173736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Comprehensive Visualization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A heatmap of major banks' branches, overlaid with the city's districts to incorporate district-level information such as population and unemployment rate.</a:t>
            </a:r>
          </a:p>
          <a:p>
            <a:pPr marL="173736" marR="0" lvl="0" indent="-173736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B9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3736" marR="0" lvl="0" indent="-173736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Localized Market Insights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⁻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detailed map focusing on city neighborhoods, providing localized information on the price per square meter to identify areas of untapped potential.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⁻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⁻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A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Arial"/>
              </a:rPr>
              <a:t>enhanced map for each branch, incorporating relevant data like proxies for traffic signs to assess the surrounding environmen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Arial"/>
              </a:rPr>
              <a:t>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543;p30">
            <a:extLst>
              <a:ext uri="{FF2B5EF4-FFF2-40B4-BE49-F238E27FC236}">
                <a16:creationId xmlns:a16="http://schemas.microsoft.com/office/drawing/2014/main" id="{382B9C02-386C-A36D-E56B-0D1E6831A29D}"/>
              </a:ext>
            </a:extLst>
          </p:cNvPr>
          <p:cNvSpPr txBox="1">
            <a:spLocks/>
          </p:cNvSpPr>
          <p:nvPr/>
        </p:nvSpPr>
        <p:spPr>
          <a:xfrm>
            <a:off x="801299" y="2734466"/>
            <a:ext cx="3528076" cy="1351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o analyze the banking sector in Casablanca the client needed to visualize the banking network of the major banks of Morocco and  to map this network with other demographic data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565;p30">
            <a:extLst>
              <a:ext uri="{FF2B5EF4-FFF2-40B4-BE49-F238E27FC236}">
                <a16:creationId xmlns:a16="http://schemas.microsoft.com/office/drawing/2014/main" id="{22B757EE-7D46-3A5A-4826-D8264DB048C8}"/>
              </a:ext>
            </a:extLst>
          </p:cNvPr>
          <p:cNvSpPr txBox="1">
            <a:spLocks/>
          </p:cNvSpPr>
          <p:nvPr/>
        </p:nvSpPr>
        <p:spPr>
          <a:xfrm>
            <a:off x="4954908" y="2734466"/>
            <a:ext cx="3647328" cy="721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Infomineo’ s Data Analytics team addressed the client’s need by: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87695B4-C9DD-619A-FDF6-CD74004F21BB}"/>
              </a:ext>
            </a:extLst>
          </p:cNvPr>
          <p:cNvGrpSpPr/>
          <p:nvPr/>
        </p:nvGrpSpPr>
        <p:grpSpPr>
          <a:xfrm>
            <a:off x="3820712" y="1925467"/>
            <a:ext cx="652797" cy="654055"/>
            <a:chOff x="3416568" y="1395569"/>
            <a:chExt cx="955760" cy="957600"/>
          </a:xfrm>
        </p:grpSpPr>
        <p:sp>
          <p:nvSpPr>
            <p:cNvPr id="21" name="Google Shape;551;p30">
              <a:extLst>
                <a:ext uri="{FF2B5EF4-FFF2-40B4-BE49-F238E27FC236}">
                  <a16:creationId xmlns:a16="http://schemas.microsoft.com/office/drawing/2014/main" id="{B910405C-B275-89C5-768A-01CF2E869752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4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2" name="Google Shape;552;p30">
              <a:extLst>
                <a:ext uri="{FF2B5EF4-FFF2-40B4-BE49-F238E27FC236}">
                  <a16:creationId xmlns:a16="http://schemas.microsoft.com/office/drawing/2014/main" id="{00C2AAA6-495C-02DF-EB69-E27CD41A924B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150408C-9E00-10A4-5A05-5765AC71176A}"/>
              </a:ext>
            </a:extLst>
          </p:cNvPr>
          <p:cNvGrpSpPr/>
          <p:nvPr/>
        </p:nvGrpSpPr>
        <p:grpSpPr>
          <a:xfrm>
            <a:off x="7962182" y="1925467"/>
            <a:ext cx="652797" cy="654055"/>
            <a:chOff x="7762572" y="1395569"/>
            <a:chExt cx="955760" cy="957600"/>
          </a:xfrm>
        </p:grpSpPr>
        <p:sp>
          <p:nvSpPr>
            <p:cNvPr id="26" name="Google Shape;568;p30">
              <a:extLst>
                <a:ext uri="{FF2B5EF4-FFF2-40B4-BE49-F238E27FC236}">
                  <a16:creationId xmlns:a16="http://schemas.microsoft.com/office/drawing/2014/main" id="{E027BDB0-7D56-0B52-DB0C-B9C5EFC38ADA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76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7" name="Google Shape;569;p30">
              <a:extLst>
                <a:ext uri="{FF2B5EF4-FFF2-40B4-BE49-F238E27FC236}">
                  <a16:creationId xmlns:a16="http://schemas.microsoft.com/office/drawing/2014/main" id="{3B0F09D2-D224-A3EA-C4EF-C457FC82DB4B}"/>
                </a:ext>
              </a:extLst>
            </p:cNvPr>
            <p:cNvPicPr preferRelativeResize="0"/>
            <p:nvPr/>
          </p:nvPicPr>
          <p:blipFill rotWithShape="1"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3E33D8D-7DDB-7D4A-53EF-DD0E9EEA5FDC}"/>
              </a:ext>
            </a:extLst>
          </p:cNvPr>
          <p:cNvGrpSpPr/>
          <p:nvPr/>
        </p:nvGrpSpPr>
        <p:grpSpPr>
          <a:xfrm>
            <a:off x="12123285" y="1925467"/>
            <a:ext cx="652797" cy="654055"/>
            <a:chOff x="12019931" y="1366765"/>
            <a:chExt cx="955760" cy="957600"/>
          </a:xfrm>
        </p:grpSpPr>
        <p:sp>
          <p:nvSpPr>
            <p:cNvPr id="29" name="Google Shape;583;p30">
              <a:extLst>
                <a:ext uri="{FF2B5EF4-FFF2-40B4-BE49-F238E27FC236}">
                  <a16:creationId xmlns:a16="http://schemas.microsoft.com/office/drawing/2014/main" id="{ED356A41-E766-998E-DC58-33DBC655D594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4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0" name="Google Shape;584;p30">
              <a:extLst>
                <a:ext uri="{FF2B5EF4-FFF2-40B4-BE49-F238E27FC236}">
                  <a16:creationId xmlns:a16="http://schemas.microsoft.com/office/drawing/2014/main" id="{02945059-39BD-0E59-A969-E0A383F408B4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31" name="Google Shape;585;p30">
                <a:extLst>
                  <a:ext uri="{FF2B5EF4-FFF2-40B4-BE49-F238E27FC236}">
                    <a16:creationId xmlns:a16="http://schemas.microsoft.com/office/drawing/2014/main" id="{E3B74689-2102-8519-8811-1C6A02811642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985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" name="Google Shape;586;p30">
                <a:extLst>
                  <a:ext uri="{FF2B5EF4-FFF2-40B4-BE49-F238E27FC236}">
                    <a16:creationId xmlns:a16="http://schemas.microsoft.com/office/drawing/2014/main" id="{B5FFE1E6-806C-548C-53C2-056CF11D67E8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985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" name="Google Shape;574;p30">
            <a:extLst>
              <a:ext uri="{FF2B5EF4-FFF2-40B4-BE49-F238E27FC236}">
                <a16:creationId xmlns:a16="http://schemas.microsoft.com/office/drawing/2014/main" id="{BB0DAC82-9F6A-2BEA-169A-7DECFF8E1C4D}"/>
              </a:ext>
            </a:extLst>
          </p:cNvPr>
          <p:cNvSpPr txBox="1">
            <a:spLocks/>
          </p:cNvSpPr>
          <p:nvPr/>
        </p:nvSpPr>
        <p:spPr>
          <a:xfrm>
            <a:off x="4949498" y="3266089"/>
            <a:ext cx="3528076" cy="2145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20001EB-FDEE-F894-D375-0D17EB5877BC}"/>
              </a:ext>
            </a:extLst>
          </p:cNvPr>
          <p:cNvGrpSpPr/>
          <p:nvPr/>
        </p:nvGrpSpPr>
        <p:grpSpPr>
          <a:xfrm>
            <a:off x="801299" y="4173975"/>
            <a:ext cx="3528076" cy="1169449"/>
            <a:chOff x="803725" y="4407424"/>
            <a:chExt cx="3528076" cy="1169449"/>
          </a:xfrm>
        </p:grpSpPr>
        <p:sp>
          <p:nvSpPr>
            <p:cNvPr id="34" name="Google Shape;561;p30">
              <a:extLst>
                <a:ext uri="{FF2B5EF4-FFF2-40B4-BE49-F238E27FC236}">
                  <a16:creationId xmlns:a16="http://schemas.microsoft.com/office/drawing/2014/main" id="{B2D88693-5BA7-B6E0-E116-4C492FE2A3AC}"/>
                </a:ext>
              </a:extLst>
            </p:cNvPr>
            <p:cNvSpPr txBox="1">
              <a:spLocks/>
            </p:cNvSpPr>
            <p:nvPr/>
          </p:nvSpPr>
          <p:spPr>
            <a:xfrm>
              <a:off x="1437182" y="4407424"/>
              <a:ext cx="2894619" cy="11694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An efficient approach for gathering data on banking agency locations, socio-demographic characteristics, and restaurants information’.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1A632FE-C084-A5C5-4EBA-875C15FDCF45}"/>
                </a:ext>
              </a:extLst>
            </p:cNvPr>
            <p:cNvGrpSpPr/>
            <p:nvPr/>
          </p:nvGrpSpPr>
          <p:grpSpPr>
            <a:xfrm>
              <a:off x="803725" y="4407425"/>
              <a:ext cx="503992" cy="503992"/>
              <a:chOff x="803725" y="4407425"/>
              <a:chExt cx="503992" cy="503992"/>
            </a:xfrm>
          </p:grpSpPr>
          <p:sp>
            <p:nvSpPr>
              <p:cNvPr id="36" name="Google Shape;554;p30">
                <a:extLst>
                  <a:ext uri="{FF2B5EF4-FFF2-40B4-BE49-F238E27FC236}">
                    <a16:creationId xmlns:a16="http://schemas.microsoft.com/office/drawing/2014/main" id="{CA8A809B-9996-F024-3313-DB6571F233F6}"/>
                  </a:ext>
                </a:extLst>
              </p:cNvPr>
              <p:cNvSpPr/>
              <p:nvPr/>
            </p:nvSpPr>
            <p:spPr>
              <a:xfrm>
                <a:off x="803725" y="4407425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3" name="Graphic 42">
                <a:extLst>
                  <a:ext uri="{FF2B5EF4-FFF2-40B4-BE49-F238E27FC236}">
                    <a16:creationId xmlns:a16="http://schemas.microsoft.com/office/drawing/2014/main" id="{23DCD8D7-0A52-4839-D99E-A6EE28E81F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86475" y="4490175"/>
                <a:ext cx="338492" cy="338492"/>
              </a:xfrm>
              <a:prstGeom prst="rect">
                <a:avLst/>
              </a:prstGeom>
            </p:spPr>
          </p:pic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322D5A2-2824-7519-0081-AB3496F7B4F8}"/>
              </a:ext>
            </a:extLst>
          </p:cNvPr>
          <p:cNvGrpSpPr/>
          <p:nvPr/>
        </p:nvGrpSpPr>
        <p:grpSpPr>
          <a:xfrm>
            <a:off x="801299" y="5519650"/>
            <a:ext cx="3528076" cy="1106658"/>
            <a:chOff x="803725" y="5691182"/>
            <a:chExt cx="3528076" cy="1106658"/>
          </a:xfrm>
        </p:grpSpPr>
        <p:sp>
          <p:nvSpPr>
            <p:cNvPr id="38" name="Google Shape;562;p30">
              <a:extLst>
                <a:ext uri="{FF2B5EF4-FFF2-40B4-BE49-F238E27FC236}">
                  <a16:creationId xmlns:a16="http://schemas.microsoft.com/office/drawing/2014/main" id="{DB41CCC9-C82D-8936-DFE3-65FCA158A212}"/>
                </a:ext>
              </a:extLst>
            </p:cNvPr>
            <p:cNvSpPr txBox="1"/>
            <p:nvPr/>
          </p:nvSpPr>
          <p:spPr>
            <a:xfrm>
              <a:off x="1437182" y="5691182"/>
              <a:ext cx="2894619" cy="11066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A solution that would enable analysis of trends  across different data categories by visualizing them on a geospatial map.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1EE0E3C-2E2F-ABBC-8819-50F7585AF930}"/>
                </a:ext>
              </a:extLst>
            </p:cNvPr>
            <p:cNvGrpSpPr/>
            <p:nvPr/>
          </p:nvGrpSpPr>
          <p:grpSpPr>
            <a:xfrm>
              <a:off x="803725" y="5691182"/>
              <a:ext cx="503992" cy="503992"/>
              <a:chOff x="803725" y="5691182"/>
              <a:chExt cx="503992" cy="503992"/>
            </a:xfrm>
          </p:grpSpPr>
          <p:sp>
            <p:nvSpPr>
              <p:cNvPr id="40" name="Google Shape;557;p30">
                <a:extLst>
                  <a:ext uri="{FF2B5EF4-FFF2-40B4-BE49-F238E27FC236}">
                    <a16:creationId xmlns:a16="http://schemas.microsoft.com/office/drawing/2014/main" id="{0DCF0AC5-278E-27FE-6EC5-BA072A8732A8}"/>
                  </a:ext>
                </a:extLst>
              </p:cNvPr>
              <p:cNvSpPr/>
              <p:nvPr/>
            </p:nvSpPr>
            <p:spPr>
              <a:xfrm>
                <a:off x="803725" y="5691182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4ED656A2-D1B6-89C2-021D-B11E7465E5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93796" y="5738391"/>
                <a:ext cx="323850" cy="409575"/>
              </a:xfrm>
              <a:prstGeom prst="rect">
                <a:avLst/>
              </a:prstGeom>
            </p:spPr>
          </p:pic>
        </p:grpSp>
      </p:grpSp>
      <p:sp>
        <p:nvSpPr>
          <p:cNvPr id="3" name="Google Shape;541;p30">
            <a:extLst>
              <a:ext uri="{FF2B5EF4-FFF2-40B4-BE49-F238E27FC236}">
                <a16:creationId xmlns:a16="http://schemas.microsoft.com/office/drawing/2014/main" id="{23A7FFE8-8431-74F4-E2AD-AFB150A39188}"/>
              </a:ext>
            </a:extLst>
          </p:cNvPr>
          <p:cNvSpPr txBox="1"/>
          <p:nvPr/>
        </p:nvSpPr>
        <p:spPr>
          <a:xfrm>
            <a:off x="9919166" y="2095528"/>
            <a:ext cx="1885146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4" name="Google Shape;546;p30">
            <a:extLst>
              <a:ext uri="{FF2B5EF4-FFF2-40B4-BE49-F238E27FC236}">
                <a16:creationId xmlns:a16="http://schemas.microsoft.com/office/drawing/2014/main" id="{480955E4-8CC5-E3A5-6DEA-343D7CC38AA7}"/>
              </a:ext>
            </a:extLst>
          </p:cNvPr>
          <p:cNvSpPr txBox="1"/>
          <p:nvPr/>
        </p:nvSpPr>
        <p:spPr>
          <a:xfrm>
            <a:off x="1343086" y="2095528"/>
            <a:ext cx="2444501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Google Shape;567;p30">
            <a:extLst>
              <a:ext uri="{FF2B5EF4-FFF2-40B4-BE49-F238E27FC236}">
                <a16:creationId xmlns:a16="http://schemas.microsoft.com/office/drawing/2014/main" id="{922C52FE-81ED-5F6E-A330-9D1A3ECE3AEE}"/>
              </a:ext>
            </a:extLst>
          </p:cNvPr>
          <p:cNvSpPr txBox="1"/>
          <p:nvPr/>
        </p:nvSpPr>
        <p:spPr>
          <a:xfrm>
            <a:off x="5743466" y="2095528"/>
            <a:ext cx="1940142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5" name="Google Shape;574;p30">
            <a:extLst>
              <a:ext uri="{FF2B5EF4-FFF2-40B4-BE49-F238E27FC236}">
                <a16:creationId xmlns:a16="http://schemas.microsoft.com/office/drawing/2014/main" id="{874352DB-4492-3A82-BFD2-FE398F4C883E}"/>
              </a:ext>
            </a:extLst>
          </p:cNvPr>
          <p:cNvSpPr txBox="1">
            <a:spLocks/>
          </p:cNvSpPr>
          <p:nvPr/>
        </p:nvSpPr>
        <p:spPr>
          <a:xfrm>
            <a:off x="4938679" y="3474946"/>
            <a:ext cx="3528076" cy="2925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Identifying Necessary Data and Establishing Collection Criteria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Leveraging fuzzy matching to compare data from different sources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Geocoding the location data and visualizing it on a geospatial map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Comparing the agencies' locations with socio-economic and demographic data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3F0891B-69C2-7CDB-55E8-2DA857C8EF92}"/>
              </a:ext>
            </a:extLst>
          </p:cNvPr>
          <p:cNvCxnSpPr/>
          <p:nvPr/>
        </p:nvCxnSpPr>
        <p:spPr>
          <a:xfrm>
            <a:off x="728961" y="5205906"/>
            <a:ext cx="3600414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544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9F5F52-CC27-5900-24B4-0512C41A3C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876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9F5F52-CC27-5900-24B4-0512C41A3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4C040F1-1B58-1523-9C95-6F3DAF5A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367024"/>
          </a:xfrm>
        </p:spPr>
        <p:txBody>
          <a:bodyPr vert="horz"/>
          <a:lstStyle/>
          <a:p>
            <a:r>
              <a:rPr lang="en-US" sz="2650" dirty="0"/>
              <a:t>Mapping Banking Services: An Analysis of Branch Locations and Demographics</a:t>
            </a:r>
          </a:p>
        </p:txBody>
      </p:sp>
      <p:sp>
        <p:nvSpPr>
          <p:cNvPr id="46" name="Google Shape;831;p25">
            <a:extLst>
              <a:ext uri="{FF2B5EF4-FFF2-40B4-BE49-F238E27FC236}">
                <a16:creationId xmlns:a16="http://schemas.microsoft.com/office/drawing/2014/main" id="{C49CE55D-DE82-09B8-E0E5-7CF9AB18C918}"/>
              </a:ext>
            </a:extLst>
          </p:cNvPr>
          <p:cNvSpPr>
            <a:spLocks/>
          </p:cNvSpPr>
          <p:nvPr/>
        </p:nvSpPr>
        <p:spPr>
          <a:xfrm>
            <a:off x="7107969" y="1865512"/>
            <a:ext cx="5966760" cy="5583399"/>
          </a:xfrm>
          <a:prstGeom prst="roundRect">
            <a:avLst>
              <a:gd name="adj" fmla="val 6416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E6723AD-DCFA-74BA-0552-677D932EA132}"/>
              </a:ext>
            </a:extLst>
          </p:cNvPr>
          <p:cNvGrpSpPr/>
          <p:nvPr/>
        </p:nvGrpSpPr>
        <p:grpSpPr>
          <a:xfrm>
            <a:off x="12254196" y="1978990"/>
            <a:ext cx="503992" cy="503992"/>
            <a:chOff x="12254196" y="1978990"/>
            <a:chExt cx="503992" cy="503992"/>
          </a:xfrm>
        </p:grpSpPr>
        <p:sp>
          <p:nvSpPr>
            <p:cNvPr id="50" name="Google Shape;557;p30">
              <a:extLst>
                <a:ext uri="{FF2B5EF4-FFF2-40B4-BE49-F238E27FC236}">
                  <a16:creationId xmlns:a16="http://schemas.microsoft.com/office/drawing/2014/main" id="{FFE26C0A-DE4D-A856-9B50-1904F51FDD37}"/>
                </a:ext>
              </a:extLst>
            </p:cNvPr>
            <p:cNvSpPr/>
            <p:nvPr/>
          </p:nvSpPr>
          <p:spPr>
            <a:xfrm>
              <a:off x="12254196" y="1978990"/>
              <a:ext cx="503992" cy="503992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69EA3431-EC68-E3C3-0BF1-6EB357EDD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348755" y="2073548"/>
              <a:ext cx="314876" cy="314876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36BAEA4-37FF-468D-A1D7-132B857F178E}"/>
              </a:ext>
            </a:extLst>
          </p:cNvPr>
          <p:cNvGrpSpPr/>
          <p:nvPr/>
        </p:nvGrpSpPr>
        <p:grpSpPr>
          <a:xfrm>
            <a:off x="550865" y="1857375"/>
            <a:ext cx="2996103" cy="4863068"/>
            <a:chOff x="550865" y="1857375"/>
            <a:chExt cx="2996103" cy="4863068"/>
          </a:xfrm>
        </p:grpSpPr>
        <p:sp>
          <p:nvSpPr>
            <p:cNvPr id="16" name="Google Shape;776;p38">
              <a:extLst>
                <a:ext uri="{FF2B5EF4-FFF2-40B4-BE49-F238E27FC236}">
                  <a16:creationId xmlns:a16="http://schemas.microsoft.com/office/drawing/2014/main" id="{9C6EF0BC-C991-FB1E-3AB0-3B644CB89957}"/>
                </a:ext>
              </a:extLst>
            </p:cNvPr>
            <p:cNvSpPr txBox="1">
              <a:spLocks/>
            </p:cNvSpPr>
            <p:nvPr/>
          </p:nvSpPr>
          <p:spPr>
            <a:xfrm>
              <a:off x="550865" y="1857375"/>
              <a:ext cx="2578416" cy="3590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Heatmap of banking agencies </a:t>
              </a:r>
              <a:b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in Casablanca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Google Shape;779;p38">
              <a:extLst>
                <a:ext uri="{FF2B5EF4-FFF2-40B4-BE49-F238E27FC236}">
                  <a16:creationId xmlns:a16="http://schemas.microsoft.com/office/drawing/2014/main" id="{AAEF4E63-5EAA-8465-033E-A206606A7B43}"/>
                </a:ext>
              </a:extLst>
            </p:cNvPr>
            <p:cNvSpPr txBox="1">
              <a:spLocks/>
            </p:cNvSpPr>
            <p:nvPr/>
          </p:nvSpPr>
          <p:spPr>
            <a:xfrm>
              <a:off x="550865" y="4313928"/>
              <a:ext cx="2655942" cy="3590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Neighbourhood average price per square meter 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A11673-75A0-2C90-3565-80892EB08E52}"/>
                </a:ext>
              </a:extLst>
            </p:cNvPr>
            <p:cNvSpPr>
              <a:spLocks/>
            </p:cNvSpPr>
            <p:nvPr/>
          </p:nvSpPr>
          <p:spPr>
            <a:xfrm>
              <a:off x="550865" y="2266487"/>
              <a:ext cx="2996103" cy="1997402"/>
            </a:xfrm>
            <a:prstGeom prst="rect">
              <a:avLst/>
            </a:prstGeom>
            <a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3E4A258-EB9B-65CC-81FB-0D59CD1003DA}"/>
                </a:ext>
              </a:extLst>
            </p:cNvPr>
            <p:cNvSpPr>
              <a:spLocks/>
            </p:cNvSpPr>
            <p:nvPr/>
          </p:nvSpPr>
          <p:spPr>
            <a:xfrm>
              <a:off x="550865" y="4723041"/>
              <a:ext cx="2996103" cy="1997402"/>
            </a:xfrm>
            <a:prstGeom prst="rect">
              <a:avLst/>
            </a:prstGeom>
            <a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+</a:t>
              </a:r>
              <a:endParaRPr kumimoji="0" lang="en-A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A599BC-9E81-9704-4C68-01BCFECB8957}"/>
              </a:ext>
            </a:extLst>
          </p:cNvPr>
          <p:cNvGrpSpPr/>
          <p:nvPr/>
        </p:nvGrpSpPr>
        <p:grpSpPr>
          <a:xfrm>
            <a:off x="3598963" y="1857375"/>
            <a:ext cx="3012428" cy="5219887"/>
            <a:chOff x="3706086" y="1857375"/>
            <a:chExt cx="3012428" cy="5219887"/>
          </a:xfrm>
        </p:grpSpPr>
        <p:sp>
          <p:nvSpPr>
            <p:cNvPr id="17" name="Google Shape;778;p38">
              <a:extLst>
                <a:ext uri="{FF2B5EF4-FFF2-40B4-BE49-F238E27FC236}">
                  <a16:creationId xmlns:a16="http://schemas.microsoft.com/office/drawing/2014/main" id="{5B3334A1-087B-78DA-A394-D5DCAA3DA8D8}"/>
                </a:ext>
              </a:extLst>
            </p:cNvPr>
            <p:cNvSpPr txBox="1">
              <a:spLocks/>
            </p:cNvSpPr>
            <p:nvPr/>
          </p:nvSpPr>
          <p:spPr>
            <a:xfrm>
              <a:off x="3706086" y="1857375"/>
              <a:ext cx="1751608" cy="3590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istricts’ Socio-demographic data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Google Shape;780;p38">
              <a:extLst>
                <a:ext uri="{FF2B5EF4-FFF2-40B4-BE49-F238E27FC236}">
                  <a16:creationId xmlns:a16="http://schemas.microsoft.com/office/drawing/2014/main" id="{8837B564-BE40-2A3D-DF7C-7DC0BCBB460A}"/>
                </a:ext>
              </a:extLst>
            </p:cNvPr>
            <p:cNvSpPr txBox="1">
              <a:spLocks/>
            </p:cNvSpPr>
            <p:nvPr/>
          </p:nvSpPr>
          <p:spPr>
            <a:xfrm>
              <a:off x="3706086" y="4313928"/>
              <a:ext cx="2578416" cy="3590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I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Enhanced Map with all information collected 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20B47E1-E49A-F817-1DE3-515FD0456616}"/>
                </a:ext>
              </a:extLst>
            </p:cNvPr>
            <p:cNvGrpSpPr/>
            <p:nvPr/>
          </p:nvGrpSpPr>
          <p:grpSpPr>
            <a:xfrm>
              <a:off x="3747189" y="6684249"/>
              <a:ext cx="2971325" cy="393013"/>
              <a:chOff x="4084568" y="6612765"/>
              <a:chExt cx="2971325" cy="393013"/>
            </a:xfrm>
          </p:grpSpPr>
          <p:sp>
            <p:nvSpPr>
              <p:cNvPr id="30" name="Google Shape;786;p38">
                <a:extLst>
                  <a:ext uri="{FF2B5EF4-FFF2-40B4-BE49-F238E27FC236}">
                    <a16:creationId xmlns:a16="http://schemas.microsoft.com/office/drawing/2014/main" id="{6383314C-0EA9-343A-02D9-81E8BC6A019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28797" y="6612765"/>
                <a:ext cx="774529" cy="393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14923" tIns="57446" rIns="114923" bIns="57446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I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Banque Populaire</a:t>
                </a:r>
                <a:endPara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787;p38">
                <a:extLst>
                  <a:ext uri="{FF2B5EF4-FFF2-40B4-BE49-F238E27FC236}">
                    <a16:creationId xmlns:a16="http://schemas.microsoft.com/office/drawing/2014/main" id="{F770FB86-2248-DAEC-FFF5-DC2E6F6A249E}"/>
                  </a:ext>
                </a:extLst>
              </p:cNvPr>
              <p:cNvSpPr/>
              <p:nvPr/>
            </p:nvSpPr>
            <p:spPr>
              <a:xfrm rot="10800000">
                <a:off x="5078457" y="6723138"/>
                <a:ext cx="172267" cy="172266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spcFirstLastPara="1" wrap="square" lIns="114923" tIns="57446" rIns="114923" bIns="57446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76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" name="Google Shape;789;p38">
                <a:extLst>
                  <a:ext uri="{FF2B5EF4-FFF2-40B4-BE49-F238E27FC236}">
                    <a16:creationId xmlns:a16="http://schemas.microsoft.com/office/drawing/2014/main" id="{0ECF3CE9-28D1-0E94-A123-1D7F37F16AA1}"/>
                  </a:ext>
                </a:extLst>
              </p:cNvPr>
              <p:cNvSpPr/>
              <p:nvPr/>
            </p:nvSpPr>
            <p:spPr>
              <a:xfrm>
                <a:off x="6154795" y="6723138"/>
                <a:ext cx="172267" cy="172267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114923" tIns="57446" rIns="114923" bIns="57446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76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9" name="Google Shape;790;p38">
                <a:extLst>
                  <a:ext uri="{FF2B5EF4-FFF2-40B4-BE49-F238E27FC236}">
                    <a16:creationId xmlns:a16="http://schemas.microsoft.com/office/drawing/2014/main" id="{50EC2647-79BA-78F9-B52D-418C5C69224D}"/>
                  </a:ext>
                </a:extLst>
              </p:cNvPr>
              <p:cNvSpPr txBox="1"/>
              <p:nvPr/>
            </p:nvSpPr>
            <p:spPr>
              <a:xfrm>
                <a:off x="6312762" y="6612765"/>
                <a:ext cx="743131" cy="393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14923" tIns="57446" rIns="114923" bIns="57446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I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Bank </a:t>
                </a:r>
                <a:br>
                  <a:rPr kumimoji="0" lang="en-I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</a:br>
                <a:r>
                  <a:rPr kumimoji="0" lang="en-I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of Africa</a:t>
                </a:r>
                <a:endPara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6" name="Google Shape;792;p38">
                <a:extLst>
                  <a:ext uri="{FF2B5EF4-FFF2-40B4-BE49-F238E27FC236}">
                    <a16:creationId xmlns:a16="http://schemas.microsoft.com/office/drawing/2014/main" id="{61ECD38E-1EBE-3D4C-A19C-703AA03E105C}"/>
                  </a:ext>
                </a:extLst>
              </p:cNvPr>
              <p:cNvSpPr/>
              <p:nvPr/>
            </p:nvSpPr>
            <p:spPr>
              <a:xfrm>
                <a:off x="4084568" y="6723138"/>
                <a:ext cx="172267" cy="172266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114923" tIns="57446" rIns="114923" bIns="57446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760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" name="Google Shape;793;p38">
                <a:extLst>
                  <a:ext uri="{FF2B5EF4-FFF2-40B4-BE49-F238E27FC236}">
                    <a16:creationId xmlns:a16="http://schemas.microsoft.com/office/drawing/2014/main" id="{254944D8-371E-CDF9-43AE-D9FF49A182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26143" y="6612765"/>
                <a:ext cx="797459" cy="393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114923" tIns="57446" rIns="114923" bIns="57446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IN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Attijariwafa</a:t>
                </a:r>
                <a:r>
                  <a:rPr kumimoji="0" lang="en-IN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 Bank</a:t>
                </a:r>
                <a:endParaRPr kumimoji="0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03E4BA-95D4-82FB-747E-A21CC767AC1F}"/>
                </a:ext>
              </a:extLst>
            </p:cNvPr>
            <p:cNvSpPr>
              <a:spLocks/>
            </p:cNvSpPr>
            <p:nvPr/>
          </p:nvSpPr>
          <p:spPr>
            <a:xfrm>
              <a:off x="3706086" y="2266487"/>
              <a:ext cx="2996103" cy="1997402"/>
            </a:xfrm>
            <a:prstGeom prst="rect">
              <a:avLst/>
            </a:prstGeom>
            <a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BCBE108-CDF5-CA65-5556-B89F64C20409}"/>
                </a:ext>
              </a:extLst>
            </p:cNvPr>
            <p:cNvSpPr>
              <a:spLocks/>
            </p:cNvSpPr>
            <p:nvPr/>
          </p:nvSpPr>
          <p:spPr>
            <a:xfrm>
              <a:off x="3706086" y="4723041"/>
              <a:ext cx="2996103" cy="1997402"/>
            </a:xfrm>
            <a:prstGeom prst="rect">
              <a:avLst/>
            </a:prstGeom>
            <a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4465ADF-0D8E-0057-22AF-BA8FF5DFD25F}"/>
              </a:ext>
            </a:extLst>
          </p:cNvPr>
          <p:cNvGrpSpPr/>
          <p:nvPr/>
        </p:nvGrpSpPr>
        <p:grpSpPr>
          <a:xfrm>
            <a:off x="6663386" y="1857374"/>
            <a:ext cx="392589" cy="5126038"/>
            <a:chOff x="7050969" y="1857374"/>
            <a:chExt cx="392589" cy="5126038"/>
          </a:xfrm>
        </p:grpSpPr>
        <p:cxnSp>
          <p:nvCxnSpPr>
            <p:cNvPr id="12" name="Google Shape;526;p13">
              <a:extLst>
                <a:ext uri="{FF2B5EF4-FFF2-40B4-BE49-F238E27FC236}">
                  <a16:creationId xmlns:a16="http://schemas.microsoft.com/office/drawing/2014/main" id="{9C861035-DDD3-D83A-3AB6-0C2EF2C61393}"/>
                </a:ext>
              </a:extLst>
            </p:cNvPr>
            <p:cNvCxnSpPr>
              <a:cxnSpLocks/>
            </p:cNvCxnSpPr>
            <p:nvPr/>
          </p:nvCxnSpPr>
          <p:spPr>
            <a:xfrm>
              <a:off x="7284133" y="1857374"/>
              <a:ext cx="0" cy="5126038"/>
            </a:xfrm>
            <a:prstGeom prst="straightConnector1">
              <a:avLst/>
            </a:prstGeom>
            <a:noFill/>
            <a:ln w="19050" cap="flat" cmpd="sng">
              <a:solidFill>
                <a:schemeClr val="tx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9C5F0A1-99B1-5796-7DFB-800CD6179033}"/>
                </a:ext>
              </a:extLst>
            </p:cNvPr>
            <p:cNvGrpSpPr/>
            <p:nvPr/>
          </p:nvGrpSpPr>
          <p:grpSpPr>
            <a:xfrm>
              <a:off x="7050969" y="4224098"/>
              <a:ext cx="392589" cy="392589"/>
              <a:chOff x="550863" y="2496471"/>
              <a:chExt cx="360000" cy="360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50F1CF8C-1E6E-B917-1B08-6DD7AB9C1B25}"/>
                  </a:ext>
                </a:extLst>
              </p:cNvPr>
              <p:cNvSpPr/>
              <p:nvPr/>
            </p:nvSpPr>
            <p:spPr>
              <a:xfrm>
                <a:off x="564471" y="2510081"/>
                <a:ext cx="332784" cy="332784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N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F1361952-D65C-2F5C-2CE6-6668714DB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50863" y="2496471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76F7BE8-8DA3-05E3-139A-134159E51CE2}"/>
              </a:ext>
            </a:extLst>
          </p:cNvPr>
          <p:cNvSpPr txBox="1"/>
          <p:nvPr/>
        </p:nvSpPr>
        <p:spPr>
          <a:xfrm>
            <a:off x="7274299" y="2541323"/>
            <a:ext cx="5703237" cy="4662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Branch Location Dat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Using Google API to collect up-to-date information on branch loc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Socio-demographic Dat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Gathering socio-demographic data from the economic government agency website, leveraging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GeoJs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and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GeoDataFram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for city districts' insi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Micro Zone Analysi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Dividing the city map into +150 micro zones for localized view. Average price per square meter data collected from biggest Moroccan FSBO website through web scraping and fuzzy match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Traffic Sign Proxi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Development of Two traffic sign proxies within 300m radius of each branch for capturing relevant inform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Restaurant Dat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Leveraging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74151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Google API to collect restaurant data near each branch, aiding local environment analysi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Surface Share of Built Constructi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: Calculating surface share of built constructions using ESA World Cover program and high-resolution land cover map</a:t>
            </a:r>
          </a:p>
        </p:txBody>
      </p:sp>
      <p:sp>
        <p:nvSpPr>
          <p:cNvPr id="14" name="Google Shape;545;p30">
            <a:extLst>
              <a:ext uri="{FF2B5EF4-FFF2-40B4-BE49-F238E27FC236}">
                <a16:creationId xmlns:a16="http://schemas.microsoft.com/office/drawing/2014/main" id="{8F4954CD-FEDA-BF62-935E-AF2EF2D1EDBF}"/>
              </a:ext>
            </a:extLst>
          </p:cNvPr>
          <p:cNvSpPr>
            <a:spLocks/>
          </p:cNvSpPr>
          <p:nvPr/>
        </p:nvSpPr>
        <p:spPr>
          <a:xfrm>
            <a:off x="7129715" y="1764673"/>
            <a:ext cx="5945014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treamlined</a:t>
            </a:r>
            <a:r>
              <a:rPr kumimoji="0" lang="fr-FR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ata </a:t>
            </a:r>
            <a:r>
              <a:rPr kumimoji="0" lang="en-US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llection</a:t>
            </a:r>
            <a:r>
              <a:rPr kumimoji="0" lang="fr-FR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984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ethodology</a:t>
            </a:r>
          </a:p>
        </p:txBody>
      </p:sp>
    </p:spTree>
    <p:extLst>
      <p:ext uri="{BB962C8B-B14F-4D97-AF65-F5344CB8AC3E}">
        <p14:creationId xmlns:p14="http://schemas.microsoft.com/office/powerpoint/2010/main" val="2531788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20434F-E856-C27E-DD2E-524743F791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05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20434F-E856-C27E-DD2E-524743F79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Google Shape;831;p25">
            <a:extLst>
              <a:ext uri="{FF2B5EF4-FFF2-40B4-BE49-F238E27FC236}">
                <a16:creationId xmlns:a16="http://schemas.microsoft.com/office/drawing/2014/main" id="{6B6DE1E1-ADFC-3C82-AF9A-0F05AD80D8EB}"/>
              </a:ext>
            </a:extLst>
          </p:cNvPr>
          <p:cNvSpPr>
            <a:spLocks/>
          </p:cNvSpPr>
          <p:nvPr/>
        </p:nvSpPr>
        <p:spPr>
          <a:xfrm>
            <a:off x="885808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4" name="Google Shape;545;p30">
            <a:extLst>
              <a:ext uri="{FF2B5EF4-FFF2-40B4-BE49-F238E27FC236}">
                <a16:creationId xmlns:a16="http://schemas.microsoft.com/office/drawing/2014/main" id="{1BDBFB7E-5466-26DD-78B9-A4EA00EA8BC3}"/>
              </a:ext>
            </a:extLst>
          </p:cNvPr>
          <p:cNvSpPr>
            <a:spLocks/>
          </p:cNvSpPr>
          <p:nvPr/>
        </p:nvSpPr>
        <p:spPr>
          <a:xfrm>
            <a:off x="8857256" y="1856203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84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Google Shape;831;p25">
            <a:extLst>
              <a:ext uri="{FF2B5EF4-FFF2-40B4-BE49-F238E27FC236}">
                <a16:creationId xmlns:a16="http://schemas.microsoft.com/office/drawing/2014/main" id="{49ABA2F6-6D33-8F8D-1DDB-11FD1855AA71}"/>
              </a:ext>
            </a:extLst>
          </p:cNvPr>
          <p:cNvSpPr>
            <a:spLocks/>
          </p:cNvSpPr>
          <p:nvPr/>
        </p:nvSpPr>
        <p:spPr>
          <a:xfrm>
            <a:off x="470447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Google Shape;545;p30">
            <a:extLst>
              <a:ext uri="{FF2B5EF4-FFF2-40B4-BE49-F238E27FC236}">
                <a16:creationId xmlns:a16="http://schemas.microsoft.com/office/drawing/2014/main" id="{B6149E10-DB19-6E97-BA42-806FD57C294F}"/>
              </a:ext>
            </a:extLst>
          </p:cNvPr>
          <p:cNvSpPr>
            <a:spLocks/>
          </p:cNvSpPr>
          <p:nvPr/>
        </p:nvSpPr>
        <p:spPr>
          <a:xfrm>
            <a:off x="4718291" y="1857288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84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Google Shape;831;p25">
            <a:extLst>
              <a:ext uri="{FF2B5EF4-FFF2-40B4-BE49-F238E27FC236}">
                <a16:creationId xmlns:a16="http://schemas.microsoft.com/office/drawing/2014/main" id="{6DBD8C5B-D702-A493-8E0D-3874137F787E}"/>
              </a:ext>
            </a:extLst>
          </p:cNvPr>
          <p:cNvSpPr>
            <a:spLocks/>
          </p:cNvSpPr>
          <p:nvPr/>
        </p:nvSpPr>
        <p:spPr>
          <a:xfrm>
            <a:off x="550863" y="2311277"/>
            <a:ext cx="4028948" cy="4672136"/>
          </a:xfrm>
          <a:prstGeom prst="roundRect">
            <a:avLst>
              <a:gd name="adj" fmla="val 8678"/>
            </a:avLst>
          </a:prstGeom>
          <a:solidFill>
            <a:schemeClr val="lt1"/>
          </a:solidFill>
          <a:ln>
            <a:noFill/>
          </a:ln>
          <a:effectLst>
            <a:outerShdw blurRad="508000" algn="ctr" rotWithShape="0">
              <a:srgbClr val="000000">
                <a:alpha val="14901"/>
              </a:srgbClr>
            </a:outerShdw>
          </a:effectLst>
        </p:spPr>
        <p:txBody>
          <a:bodyPr spcFirstLastPara="1" wrap="square" lIns="144000" tIns="180000" rIns="144000" bIns="180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0769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ts val="1300"/>
              <a:buFont typeface="Calibri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545;p30">
            <a:extLst>
              <a:ext uri="{FF2B5EF4-FFF2-40B4-BE49-F238E27FC236}">
                <a16:creationId xmlns:a16="http://schemas.microsoft.com/office/drawing/2014/main" id="{2AC21F8F-9CF0-476C-3AA8-D5E948FBA41E}"/>
              </a:ext>
            </a:extLst>
          </p:cNvPr>
          <p:cNvSpPr>
            <a:spLocks/>
          </p:cNvSpPr>
          <p:nvPr/>
        </p:nvSpPr>
        <p:spPr>
          <a:xfrm>
            <a:off x="551687" y="1858936"/>
            <a:ext cx="4028843" cy="790219"/>
          </a:xfrm>
          <a:prstGeom prst="round2SameRect">
            <a:avLst/>
          </a:prstGeom>
          <a:gradFill flip="none" rotWithShape="1">
            <a:gsLst>
              <a:gs pos="16000">
                <a:srgbClr val="0F47F2">
                  <a:lumMod val="50000"/>
                </a:srgbClr>
              </a:gs>
              <a:gs pos="46000">
                <a:srgbClr val="0F47F2"/>
              </a:gs>
              <a:gs pos="79000">
                <a:srgbClr val="00B9FF"/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84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DE784D-5533-C755-84E7-62641661B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41" y="617945"/>
            <a:ext cx="12224961" cy="367024"/>
          </a:xfrm>
        </p:spPr>
        <p:txBody>
          <a:bodyPr vert="horz"/>
          <a:lstStyle/>
          <a:p>
            <a:r>
              <a:rPr lang="en-US" sz="2650" dirty="0"/>
              <a:t>Assessing Candidates’ Experience through Sentiment Analysi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600AAE-D2C3-E412-75F5-5CFD6CE2A94B}"/>
              </a:ext>
            </a:extLst>
          </p:cNvPr>
          <p:cNvGrpSpPr/>
          <p:nvPr/>
        </p:nvGrpSpPr>
        <p:grpSpPr>
          <a:xfrm>
            <a:off x="11405937" y="617945"/>
            <a:ext cx="2033838" cy="977062"/>
            <a:chOff x="11405937" y="617945"/>
            <a:chExt cx="2033838" cy="977062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7D2FD724-392D-CFA7-E492-EA5DB90693AF}"/>
                </a:ext>
              </a:extLst>
            </p:cNvPr>
            <p:cNvSpPr>
              <a:spLocks/>
            </p:cNvSpPr>
            <p:nvPr/>
          </p:nvSpPr>
          <p:spPr>
            <a:xfrm flipH="1">
              <a:off x="11405937" y="617945"/>
              <a:ext cx="2033838" cy="977062"/>
            </a:xfrm>
            <a:prstGeom prst="homePlate">
              <a:avLst>
                <a:gd name="adj" fmla="val 1507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1" name="Google Shape;547;p30">
              <a:extLst>
                <a:ext uri="{FF2B5EF4-FFF2-40B4-BE49-F238E27FC236}">
                  <a16:creationId xmlns:a16="http://schemas.microsoft.com/office/drawing/2014/main" id="{118871B0-02EF-4F7A-A9EE-8BD96EE66D5F}"/>
                </a:ext>
              </a:extLst>
            </p:cNvPr>
            <p:cNvPicPr preferRelativeResize="0"/>
            <p:nvPr/>
          </p:nvPicPr>
          <p:blipFill rotWithShape="1">
            <a:blip r:embed="rId5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927040" y="677910"/>
              <a:ext cx="949173" cy="85713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" name="Google Shape;563;p30">
            <a:extLst>
              <a:ext uri="{FF2B5EF4-FFF2-40B4-BE49-F238E27FC236}">
                <a16:creationId xmlns:a16="http://schemas.microsoft.com/office/drawing/2014/main" id="{8D0FFC6C-9A87-5503-913C-B26675408B02}"/>
              </a:ext>
            </a:extLst>
          </p:cNvPr>
          <p:cNvSpPr txBox="1">
            <a:spLocks/>
          </p:cNvSpPr>
          <p:nvPr/>
        </p:nvSpPr>
        <p:spPr>
          <a:xfrm>
            <a:off x="9108518" y="2713613"/>
            <a:ext cx="3526737" cy="4029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client benefited from Infomineo Data Analytics service on multiple fronts: </a:t>
            </a:r>
          </a:p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B9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Data-Driven Decision-Making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B9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Calibri" panose="020F0502020204030204" pitchFamily="34" charset="0"/>
              <a:buChar char="⁻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Re-evaluate the recruitment procedure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Calibri" panose="020F0502020204030204" pitchFamily="34" charset="0"/>
              <a:buChar char="⁻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Identify specific areas where improvements could be mad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Calibri" panose="020F0502020204030204" pitchFamily="34" charset="0"/>
              <a:buChar char="⁻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Enhance the candidate experience at the global, regional, country, and departmental levels.</a:t>
            </a:r>
          </a:p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47F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B9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Advanced Analytics Perspec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9FF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AI-powered tool offered the client a fresh perspective on harnessing advanced analytics within their operation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Arial"/>
            </a:endParaRPr>
          </a:p>
        </p:txBody>
      </p:sp>
      <p:sp>
        <p:nvSpPr>
          <p:cNvPr id="16" name="Google Shape;543;p30">
            <a:extLst>
              <a:ext uri="{FF2B5EF4-FFF2-40B4-BE49-F238E27FC236}">
                <a16:creationId xmlns:a16="http://schemas.microsoft.com/office/drawing/2014/main" id="{91D310E8-C1CE-B245-234F-A77B9CDA577C}"/>
              </a:ext>
            </a:extLst>
          </p:cNvPr>
          <p:cNvSpPr txBox="1">
            <a:spLocks/>
          </p:cNvSpPr>
          <p:nvPr/>
        </p:nvSpPr>
        <p:spPr>
          <a:xfrm>
            <a:off x="754141" y="2749238"/>
            <a:ext cx="3672210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client need to analyze a large volume of candidates' feedback data collected during the recruitment process and sought an automated solu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The firm was looking for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565;p30">
            <a:extLst>
              <a:ext uri="{FF2B5EF4-FFF2-40B4-BE49-F238E27FC236}">
                <a16:creationId xmlns:a16="http://schemas.microsoft.com/office/drawing/2014/main" id="{673118F9-672E-C047-3A4D-144B7DE7E395}"/>
              </a:ext>
            </a:extLst>
          </p:cNvPr>
          <p:cNvSpPr txBox="1">
            <a:spLocks/>
          </p:cNvSpPr>
          <p:nvPr/>
        </p:nvSpPr>
        <p:spPr>
          <a:xfrm>
            <a:off x="4952605" y="2713614"/>
            <a:ext cx="3655041" cy="40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Infomineo’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rPr>
              <a:t> Data Analytics team addressed the client’s challenges by: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31A042F-0D4E-8A7F-EABA-CC8D82FEB838}"/>
              </a:ext>
            </a:extLst>
          </p:cNvPr>
          <p:cNvGrpSpPr/>
          <p:nvPr/>
        </p:nvGrpSpPr>
        <p:grpSpPr>
          <a:xfrm>
            <a:off x="3820712" y="1925467"/>
            <a:ext cx="652797" cy="654055"/>
            <a:chOff x="3416568" y="1395569"/>
            <a:chExt cx="955760" cy="957600"/>
          </a:xfrm>
        </p:grpSpPr>
        <p:sp>
          <p:nvSpPr>
            <p:cNvPr id="23" name="Google Shape;551;p30">
              <a:extLst>
                <a:ext uri="{FF2B5EF4-FFF2-40B4-BE49-F238E27FC236}">
                  <a16:creationId xmlns:a16="http://schemas.microsoft.com/office/drawing/2014/main" id="{456D4AD3-A19A-0B2C-C717-7F1E3FD773BF}"/>
                </a:ext>
              </a:extLst>
            </p:cNvPr>
            <p:cNvSpPr/>
            <p:nvPr/>
          </p:nvSpPr>
          <p:spPr>
            <a:xfrm>
              <a:off x="3416568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4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4" name="Google Shape;552;p30">
              <a:extLst>
                <a:ext uri="{FF2B5EF4-FFF2-40B4-BE49-F238E27FC236}">
                  <a16:creationId xmlns:a16="http://schemas.microsoft.com/office/drawing/2014/main" id="{580BF20C-A87C-20C9-1E2B-4188E0DF790D}"/>
                </a:ext>
              </a:extLst>
            </p:cNvPr>
            <p:cNvPicPr preferRelativeResize="0"/>
            <p:nvPr/>
          </p:nvPicPr>
          <p:blipFill rotWithShape="1">
            <a:blip r:embed="rId7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8608" y="1548529"/>
              <a:ext cx="651681" cy="65168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F1D2C07-8BE7-9348-58A1-E79E8DC2B6C5}"/>
              </a:ext>
            </a:extLst>
          </p:cNvPr>
          <p:cNvGrpSpPr/>
          <p:nvPr/>
        </p:nvGrpSpPr>
        <p:grpSpPr>
          <a:xfrm>
            <a:off x="7962182" y="1925467"/>
            <a:ext cx="652797" cy="654055"/>
            <a:chOff x="7762572" y="1395569"/>
            <a:chExt cx="955760" cy="957600"/>
          </a:xfrm>
        </p:grpSpPr>
        <p:sp>
          <p:nvSpPr>
            <p:cNvPr id="28" name="Google Shape;568;p30">
              <a:extLst>
                <a:ext uri="{FF2B5EF4-FFF2-40B4-BE49-F238E27FC236}">
                  <a16:creationId xmlns:a16="http://schemas.microsoft.com/office/drawing/2014/main" id="{57E815B7-80BC-D1F2-CF50-1E7EBF4C4FB5}"/>
                </a:ext>
              </a:extLst>
            </p:cNvPr>
            <p:cNvSpPr/>
            <p:nvPr/>
          </p:nvSpPr>
          <p:spPr>
            <a:xfrm>
              <a:off x="7762572" y="1395569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76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pic>
          <p:nvPicPr>
            <p:cNvPr id="29" name="Google Shape;569;p30">
              <a:extLst>
                <a:ext uri="{FF2B5EF4-FFF2-40B4-BE49-F238E27FC236}">
                  <a16:creationId xmlns:a16="http://schemas.microsoft.com/office/drawing/2014/main" id="{777BD43C-415D-E39C-5597-C8009F84E260}"/>
                </a:ext>
              </a:extLst>
            </p:cNvPr>
            <p:cNvPicPr preferRelativeResize="0"/>
            <p:nvPr/>
          </p:nvPicPr>
          <p:blipFill rotWithShape="1">
            <a:blip r:embed="rId8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09107" y="1543024"/>
              <a:ext cx="662691" cy="66269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0CCAFC6-E51F-DF96-F072-69ACFC427C2E}"/>
              </a:ext>
            </a:extLst>
          </p:cNvPr>
          <p:cNvGrpSpPr/>
          <p:nvPr/>
        </p:nvGrpSpPr>
        <p:grpSpPr>
          <a:xfrm>
            <a:off x="12123285" y="1925467"/>
            <a:ext cx="652797" cy="654055"/>
            <a:chOff x="12019931" y="1366765"/>
            <a:chExt cx="955760" cy="957600"/>
          </a:xfrm>
        </p:grpSpPr>
        <p:sp>
          <p:nvSpPr>
            <p:cNvPr id="31" name="Google Shape;583;p30">
              <a:extLst>
                <a:ext uri="{FF2B5EF4-FFF2-40B4-BE49-F238E27FC236}">
                  <a16:creationId xmlns:a16="http://schemas.microsoft.com/office/drawing/2014/main" id="{6838AA54-C60E-E908-605A-F26E748F0229}"/>
                </a:ext>
              </a:extLst>
            </p:cNvPr>
            <p:cNvSpPr/>
            <p:nvPr/>
          </p:nvSpPr>
          <p:spPr>
            <a:xfrm>
              <a:off x="12019931" y="1366765"/>
              <a:ext cx="955760" cy="9576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00781" tIns="50375" rIns="100781" bIns="50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4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2" name="Google Shape;584;p30">
              <a:extLst>
                <a:ext uri="{FF2B5EF4-FFF2-40B4-BE49-F238E27FC236}">
                  <a16:creationId xmlns:a16="http://schemas.microsoft.com/office/drawing/2014/main" id="{202660EC-89A0-8F32-72C5-DA21D25FF1FD}"/>
                </a:ext>
              </a:extLst>
            </p:cNvPr>
            <p:cNvGrpSpPr/>
            <p:nvPr/>
          </p:nvGrpSpPr>
          <p:grpSpPr>
            <a:xfrm>
              <a:off x="12226115" y="1593618"/>
              <a:ext cx="543392" cy="503895"/>
              <a:chOff x="10915170" y="2075424"/>
              <a:chExt cx="432288" cy="400866"/>
            </a:xfrm>
          </p:grpSpPr>
          <p:sp>
            <p:nvSpPr>
              <p:cNvPr id="33" name="Google Shape;585;p30">
                <a:extLst>
                  <a:ext uri="{FF2B5EF4-FFF2-40B4-BE49-F238E27FC236}">
                    <a16:creationId xmlns:a16="http://schemas.microsoft.com/office/drawing/2014/main" id="{9D51ECE1-4669-5B7B-3132-934B9ADC8D35}"/>
                  </a:ext>
                </a:extLst>
              </p:cNvPr>
              <p:cNvSpPr/>
              <p:nvPr/>
            </p:nvSpPr>
            <p:spPr>
              <a:xfrm>
                <a:off x="10915170" y="2075424"/>
                <a:ext cx="432288" cy="400866"/>
              </a:xfrm>
              <a:custGeom>
                <a:avLst/>
                <a:gdLst/>
                <a:ahLst/>
                <a:cxnLst/>
                <a:rect l="l" t="t" r="r" b="b"/>
                <a:pathLst>
                  <a:path w="840" h="806" extrusionOk="0">
                    <a:moveTo>
                      <a:pt x="831" y="80"/>
                    </a:moveTo>
                    <a:cubicBezTo>
                      <a:pt x="114" y="80"/>
                      <a:pt x="114" y="80"/>
                      <a:pt x="114" y="80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4"/>
                      <a:pt x="110" y="0"/>
                      <a:pt x="105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749"/>
                      <a:pt x="0" y="749"/>
                      <a:pt x="0" y="749"/>
                    </a:cubicBezTo>
                    <a:cubicBezTo>
                      <a:pt x="0" y="780"/>
                      <a:pt x="25" y="806"/>
                      <a:pt x="57" y="806"/>
                    </a:cubicBezTo>
                    <a:cubicBezTo>
                      <a:pt x="95" y="806"/>
                      <a:pt x="95" y="806"/>
                      <a:pt x="95" y="806"/>
                    </a:cubicBezTo>
                    <a:cubicBezTo>
                      <a:pt x="105" y="806"/>
                      <a:pt x="105" y="806"/>
                      <a:pt x="105" y="806"/>
                    </a:cubicBezTo>
                    <a:cubicBezTo>
                      <a:pt x="831" y="806"/>
                      <a:pt x="831" y="806"/>
                      <a:pt x="831" y="806"/>
                    </a:cubicBezTo>
                    <a:cubicBezTo>
                      <a:pt x="836" y="806"/>
                      <a:pt x="840" y="802"/>
                      <a:pt x="840" y="797"/>
                    </a:cubicBezTo>
                    <a:cubicBezTo>
                      <a:pt x="840" y="89"/>
                      <a:pt x="840" y="89"/>
                      <a:pt x="840" y="89"/>
                    </a:cubicBezTo>
                    <a:cubicBezTo>
                      <a:pt x="840" y="84"/>
                      <a:pt x="836" y="80"/>
                      <a:pt x="831" y="80"/>
                    </a:cubicBezTo>
                    <a:close/>
                    <a:moveTo>
                      <a:pt x="57" y="17"/>
                    </a:moveTo>
                    <a:cubicBezTo>
                      <a:pt x="97" y="17"/>
                      <a:pt x="97" y="17"/>
                      <a:pt x="97" y="17"/>
                    </a:cubicBezTo>
                    <a:cubicBezTo>
                      <a:pt x="97" y="692"/>
                      <a:pt x="97" y="692"/>
                      <a:pt x="97" y="692"/>
                    </a:cubicBezTo>
                    <a:cubicBezTo>
                      <a:pt x="57" y="692"/>
                      <a:pt x="57" y="692"/>
                      <a:pt x="57" y="692"/>
                    </a:cubicBezTo>
                    <a:cubicBezTo>
                      <a:pt x="41" y="692"/>
                      <a:pt x="27" y="698"/>
                      <a:pt x="17" y="70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35"/>
                      <a:pt x="35" y="17"/>
                      <a:pt x="57" y="17"/>
                    </a:cubicBezTo>
                    <a:close/>
                    <a:moveTo>
                      <a:pt x="823" y="788"/>
                    </a:moveTo>
                    <a:cubicBezTo>
                      <a:pt x="105" y="788"/>
                      <a:pt x="105" y="788"/>
                      <a:pt x="105" y="788"/>
                    </a:cubicBezTo>
                    <a:cubicBezTo>
                      <a:pt x="95" y="788"/>
                      <a:pt x="95" y="788"/>
                      <a:pt x="95" y="788"/>
                    </a:cubicBezTo>
                    <a:cubicBezTo>
                      <a:pt x="57" y="788"/>
                      <a:pt x="57" y="788"/>
                      <a:pt x="57" y="788"/>
                    </a:cubicBezTo>
                    <a:cubicBezTo>
                      <a:pt x="35" y="788"/>
                      <a:pt x="17" y="771"/>
                      <a:pt x="17" y="749"/>
                    </a:cubicBezTo>
                    <a:cubicBezTo>
                      <a:pt x="17" y="727"/>
                      <a:pt x="35" y="709"/>
                      <a:pt x="57" y="709"/>
                    </a:cubicBezTo>
                    <a:cubicBezTo>
                      <a:pt x="105" y="709"/>
                      <a:pt x="105" y="709"/>
                      <a:pt x="105" y="709"/>
                    </a:cubicBezTo>
                    <a:cubicBezTo>
                      <a:pt x="110" y="709"/>
                      <a:pt x="114" y="705"/>
                      <a:pt x="114" y="700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823" y="98"/>
                      <a:pt x="823" y="98"/>
                      <a:pt x="823" y="98"/>
                    </a:cubicBezTo>
                    <a:lnTo>
                      <a:pt x="823" y="788"/>
                    </a:lnTo>
                    <a:close/>
                  </a:path>
                </a:pathLst>
              </a:custGeom>
              <a:noFill/>
              <a:ln w="63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985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" name="Google Shape;586;p30">
                <a:extLst>
                  <a:ext uri="{FF2B5EF4-FFF2-40B4-BE49-F238E27FC236}">
                    <a16:creationId xmlns:a16="http://schemas.microsoft.com/office/drawing/2014/main" id="{3D166A38-0986-9A3D-A20D-D28966DB058B}"/>
                  </a:ext>
                </a:extLst>
              </p:cNvPr>
              <p:cNvSpPr/>
              <p:nvPr/>
            </p:nvSpPr>
            <p:spPr>
              <a:xfrm>
                <a:off x="11005647" y="2167089"/>
                <a:ext cx="282550" cy="266407"/>
              </a:xfrm>
              <a:custGeom>
                <a:avLst/>
                <a:gdLst/>
                <a:ahLst/>
                <a:cxnLst/>
                <a:rect l="l" t="t" r="r" b="b"/>
                <a:pathLst>
                  <a:path w="549" h="537" extrusionOk="0">
                    <a:moveTo>
                      <a:pt x="4" y="226"/>
                    </a:moveTo>
                    <a:cubicBezTo>
                      <a:pt x="71" y="293"/>
                      <a:pt x="71" y="293"/>
                      <a:pt x="71" y="293"/>
                    </a:cubicBezTo>
                    <a:cubicBezTo>
                      <a:pt x="73" y="295"/>
                      <a:pt x="75" y="296"/>
                      <a:pt x="77" y="296"/>
                    </a:cubicBezTo>
                    <a:cubicBezTo>
                      <a:pt x="79" y="296"/>
                      <a:pt x="81" y="295"/>
                      <a:pt x="83" y="293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295" y="229"/>
                      <a:pt x="295" y="229"/>
                      <a:pt x="295" y="229"/>
                    </a:cubicBezTo>
                    <a:cubicBezTo>
                      <a:pt x="437" y="229"/>
                      <a:pt x="437" y="229"/>
                      <a:pt x="437" y="229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37" y="272"/>
                      <a:pt x="441" y="276"/>
                      <a:pt x="446" y="276"/>
                    </a:cubicBezTo>
                    <a:cubicBezTo>
                      <a:pt x="484" y="276"/>
                      <a:pt x="484" y="276"/>
                      <a:pt x="484" y="276"/>
                    </a:cubicBezTo>
                    <a:cubicBezTo>
                      <a:pt x="484" y="418"/>
                      <a:pt x="484" y="418"/>
                      <a:pt x="484" y="418"/>
                    </a:cubicBezTo>
                    <a:cubicBezTo>
                      <a:pt x="460" y="422"/>
                      <a:pt x="442" y="441"/>
                      <a:pt x="438" y="465"/>
                    </a:cubicBezTo>
                    <a:cubicBezTo>
                      <a:pt x="116" y="465"/>
                      <a:pt x="116" y="465"/>
                      <a:pt x="116" y="465"/>
                    </a:cubicBezTo>
                    <a:cubicBezTo>
                      <a:pt x="116" y="419"/>
                      <a:pt x="116" y="419"/>
                      <a:pt x="116" y="419"/>
                    </a:cubicBezTo>
                    <a:cubicBezTo>
                      <a:pt x="116" y="416"/>
                      <a:pt x="115" y="413"/>
                      <a:pt x="112" y="411"/>
                    </a:cubicBezTo>
                    <a:cubicBezTo>
                      <a:pt x="110" y="410"/>
                      <a:pt x="106" y="410"/>
                      <a:pt x="104" y="411"/>
                    </a:cubicBezTo>
                    <a:cubicBezTo>
                      <a:pt x="9" y="466"/>
                      <a:pt x="9" y="466"/>
                      <a:pt x="9" y="466"/>
                    </a:cubicBezTo>
                    <a:cubicBezTo>
                      <a:pt x="6" y="468"/>
                      <a:pt x="5" y="470"/>
                      <a:pt x="5" y="474"/>
                    </a:cubicBezTo>
                    <a:cubicBezTo>
                      <a:pt x="5" y="477"/>
                      <a:pt x="6" y="479"/>
                      <a:pt x="9" y="481"/>
                    </a:cubicBezTo>
                    <a:cubicBezTo>
                      <a:pt x="104" y="536"/>
                      <a:pt x="104" y="536"/>
                      <a:pt x="104" y="536"/>
                    </a:cubicBezTo>
                    <a:cubicBezTo>
                      <a:pt x="105" y="536"/>
                      <a:pt x="106" y="537"/>
                      <a:pt x="108" y="537"/>
                    </a:cubicBezTo>
                    <a:cubicBezTo>
                      <a:pt x="109" y="537"/>
                      <a:pt x="111" y="536"/>
                      <a:pt x="112" y="536"/>
                    </a:cubicBezTo>
                    <a:cubicBezTo>
                      <a:pt x="115" y="534"/>
                      <a:pt x="116" y="531"/>
                      <a:pt x="116" y="528"/>
                    </a:cubicBezTo>
                    <a:cubicBezTo>
                      <a:pt x="116" y="482"/>
                      <a:pt x="116" y="482"/>
                      <a:pt x="116" y="482"/>
                    </a:cubicBezTo>
                    <a:cubicBezTo>
                      <a:pt x="438" y="482"/>
                      <a:pt x="438" y="482"/>
                      <a:pt x="438" y="482"/>
                    </a:cubicBezTo>
                    <a:cubicBezTo>
                      <a:pt x="442" y="509"/>
                      <a:pt x="465" y="530"/>
                      <a:pt x="493" y="530"/>
                    </a:cubicBezTo>
                    <a:cubicBezTo>
                      <a:pt x="524" y="530"/>
                      <a:pt x="549" y="504"/>
                      <a:pt x="549" y="474"/>
                    </a:cubicBezTo>
                    <a:cubicBezTo>
                      <a:pt x="549" y="446"/>
                      <a:pt x="528" y="423"/>
                      <a:pt x="502" y="418"/>
                    </a:cubicBezTo>
                    <a:cubicBezTo>
                      <a:pt x="502" y="276"/>
                      <a:pt x="502" y="276"/>
                      <a:pt x="502" y="276"/>
                    </a:cubicBezTo>
                    <a:cubicBezTo>
                      <a:pt x="540" y="276"/>
                      <a:pt x="540" y="276"/>
                      <a:pt x="540" y="276"/>
                    </a:cubicBezTo>
                    <a:cubicBezTo>
                      <a:pt x="545" y="276"/>
                      <a:pt x="549" y="272"/>
                      <a:pt x="549" y="268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9" y="168"/>
                      <a:pt x="545" y="164"/>
                      <a:pt x="540" y="164"/>
                    </a:cubicBezTo>
                    <a:cubicBezTo>
                      <a:pt x="446" y="164"/>
                      <a:pt x="446" y="164"/>
                      <a:pt x="446" y="164"/>
                    </a:cubicBezTo>
                    <a:cubicBezTo>
                      <a:pt x="441" y="164"/>
                      <a:pt x="437" y="168"/>
                      <a:pt x="437" y="173"/>
                    </a:cubicBezTo>
                    <a:cubicBezTo>
                      <a:pt x="437" y="212"/>
                      <a:pt x="437" y="212"/>
                      <a:pt x="437" y="212"/>
                    </a:cubicBezTo>
                    <a:cubicBezTo>
                      <a:pt x="303" y="212"/>
                      <a:pt x="303" y="212"/>
                      <a:pt x="303" y="212"/>
                    </a:cubicBezTo>
                    <a:cubicBezTo>
                      <a:pt x="303" y="140"/>
                      <a:pt x="303" y="140"/>
                      <a:pt x="303" y="140"/>
                    </a:cubicBezTo>
                    <a:cubicBezTo>
                      <a:pt x="338" y="136"/>
                      <a:pt x="365" y="107"/>
                      <a:pt x="365" y="71"/>
                    </a:cubicBezTo>
                    <a:cubicBezTo>
                      <a:pt x="365" y="32"/>
                      <a:pt x="334" y="0"/>
                      <a:pt x="295" y="0"/>
                    </a:cubicBezTo>
                    <a:cubicBezTo>
                      <a:pt x="259" y="0"/>
                      <a:pt x="230" y="27"/>
                      <a:pt x="225" y="62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2" y="62"/>
                      <a:pt x="68" y="66"/>
                      <a:pt x="68" y="71"/>
                    </a:cubicBezTo>
                    <a:cubicBezTo>
                      <a:pt x="68" y="150"/>
                      <a:pt x="68" y="150"/>
                      <a:pt x="68" y="150"/>
                    </a:cubicBezTo>
                    <a:cubicBezTo>
                      <a:pt x="4" y="214"/>
                      <a:pt x="4" y="214"/>
                      <a:pt x="4" y="214"/>
                    </a:cubicBezTo>
                    <a:cubicBezTo>
                      <a:pt x="0" y="217"/>
                      <a:pt x="0" y="223"/>
                      <a:pt x="4" y="226"/>
                    </a:cubicBezTo>
                    <a:close/>
                    <a:moveTo>
                      <a:pt x="99" y="513"/>
                    </a:moveTo>
                    <a:cubicBezTo>
                      <a:pt x="30" y="474"/>
                      <a:pt x="30" y="474"/>
                      <a:pt x="30" y="474"/>
                    </a:cubicBezTo>
                    <a:cubicBezTo>
                      <a:pt x="99" y="434"/>
                      <a:pt x="99" y="434"/>
                      <a:pt x="99" y="434"/>
                    </a:cubicBezTo>
                    <a:lnTo>
                      <a:pt x="99" y="513"/>
                    </a:lnTo>
                    <a:close/>
                    <a:moveTo>
                      <a:pt x="532" y="474"/>
                    </a:moveTo>
                    <a:cubicBezTo>
                      <a:pt x="532" y="495"/>
                      <a:pt x="514" y="512"/>
                      <a:pt x="493" y="512"/>
                    </a:cubicBezTo>
                    <a:cubicBezTo>
                      <a:pt x="472" y="512"/>
                      <a:pt x="454" y="495"/>
                      <a:pt x="454" y="474"/>
                    </a:cubicBezTo>
                    <a:cubicBezTo>
                      <a:pt x="454" y="452"/>
                      <a:pt x="472" y="435"/>
                      <a:pt x="493" y="435"/>
                    </a:cubicBezTo>
                    <a:cubicBezTo>
                      <a:pt x="514" y="435"/>
                      <a:pt x="532" y="452"/>
                      <a:pt x="532" y="474"/>
                    </a:cubicBezTo>
                    <a:close/>
                    <a:moveTo>
                      <a:pt x="454" y="181"/>
                    </a:moveTo>
                    <a:cubicBezTo>
                      <a:pt x="532" y="181"/>
                      <a:pt x="532" y="181"/>
                      <a:pt x="532" y="181"/>
                    </a:cubicBezTo>
                    <a:cubicBezTo>
                      <a:pt x="532" y="259"/>
                      <a:pt x="532" y="259"/>
                      <a:pt x="532" y="259"/>
                    </a:cubicBezTo>
                    <a:cubicBezTo>
                      <a:pt x="454" y="259"/>
                      <a:pt x="454" y="259"/>
                      <a:pt x="454" y="259"/>
                    </a:cubicBezTo>
                    <a:lnTo>
                      <a:pt x="454" y="181"/>
                    </a:lnTo>
                    <a:close/>
                    <a:moveTo>
                      <a:pt x="295" y="17"/>
                    </a:moveTo>
                    <a:cubicBezTo>
                      <a:pt x="324" y="17"/>
                      <a:pt x="348" y="41"/>
                      <a:pt x="348" y="71"/>
                    </a:cubicBezTo>
                    <a:cubicBezTo>
                      <a:pt x="348" y="100"/>
                      <a:pt x="324" y="124"/>
                      <a:pt x="295" y="124"/>
                    </a:cubicBezTo>
                    <a:cubicBezTo>
                      <a:pt x="265" y="124"/>
                      <a:pt x="242" y="100"/>
                      <a:pt x="242" y="71"/>
                    </a:cubicBezTo>
                    <a:cubicBezTo>
                      <a:pt x="242" y="41"/>
                      <a:pt x="265" y="17"/>
                      <a:pt x="295" y="17"/>
                    </a:cubicBezTo>
                    <a:close/>
                    <a:moveTo>
                      <a:pt x="225" y="79"/>
                    </a:moveTo>
                    <a:cubicBezTo>
                      <a:pt x="229" y="111"/>
                      <a:pt x="254" y="136"/>
                      <a:pt x="286" y="14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86" y="150"/>
                      <a:pt x="86" y="150"/>
                      <a:pt x="86" y="150"/>
                    </a:cubicBezTo>
                    <a:cubicBezTo>
                      <a:pt x="86" y="79"/>
                      <a:pt x="86" y="79"/>
                      <a:pt x="86" y="79"/>
                    </a:cubicBezTo>
                    <a:lnTo>
                      <a:pt x="225" y="79"/>
                    </a:lnTo>
                    <a:close/>
                    <a:moveTo>
                      <a:pt x="77" y="165"/>
                    </a:moveTo>
                    <a:cubicBezTo>
                      <a:pt x="132" y="220"/>
                      <a:pt x="132" y="220"/>
                      <a:pt x="132" y="220"/>
                    </a:cubicBezTo>
                    <a:cubicBezTo>
                      <a:pt x="77" y="275"/>
                      <a:pt x="77" y="275"/>
                      <a:pt x="77" y="275"/>
                    </a:cubicBezTo>
                    <a:cubicBezTo>
                      <a:pt x="22" y="220"/>
                      <a:pt x="22" y="220"/>
                      <a:pt x="22" y="220"/>
                    </a:cubicBezTo>
                    <a:lnTo>
                      <a:pt x="77" y="165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985" b="0" i="0" u="none" strike="noStrike" kern="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DD0F1CD-71C7-10E2-D28B-94400833EABD}"/>
              </a:ext>
            </a:extLst>
          </p:cNvPr>
          <p:cNvGrpSpPr/>
          <p:nvPr/>
        </p:nvGrpSpPr>
        <p:grpSpPr>
          <a:xfrm>
            <a:off x="754141" y="4462816"/>
            <a:ext cx="3414537" cy="648768"/>
            <a:chOff x="803725" y="4219935"/>
            <a:chExt cx="3414537" cy="648768"/>
          </a:xfrm>
        </p:grpSpPr>
        <p:sp>
          <p:nvSpPr>
            <p:cNvPr id="61" name="Google Shape;561;p30">
              <a:extLst>
                <a:ext uri="{FF2B5EF4-FFF2-40B4-BE49-F238E27FC236}">
                  <a16:creationId xmlns:a16="http://schemas.microsoft.com/office/drawing/2014/main" id="{2283A587-2296-7AE0-0660-5BA1D053D36D}"/>
                </a:ext>
              </a:extLst>
            </p:cNvPr>
            <p:cNvSpPr txBox="1">
              <a:spLocks/>
            </p:cNvSpPr>
            <p:nvPr/>
          </p:nvSpPr>
          <p:spPr>
            <a:xfrm>
              <a:off x="1437182" y="4219935"/>
              <a:ext cx="2781080" cy="64876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An automated tool to analyze candidate feedback, replacing the manual analysis process.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42463D1-5A0D-F381-3886-7D81E064EF9C}"/>
                </a:ext>
              </a:extLst>
            </p:cNvPr>
            <p:cNvGrpSpPr/>
            <p:nvPr/>
          </p:nvGrpSpPr>
          <p:grpSpPr>
            <a:xfrm>
              <a:off x="803725" y="4219935"/>
              <a:ext cx="503992" cy="503992"/>
              <a:chOff x="803725" y="4219935"/>
              <a:chExt cx="503992" cy="503992"/>
            </a:xfrm>
          </p:grpSpPr>
          <p:sp>
            <p:nvSpPr>
              <p:cNvPr id="63" name="Google Shape;554;p30">
                <a:extLst>
                  <a:ext uri="{FF2B5EF4-FFF2-40B4-BE49-F238E27FC236}">
                    <a16:creationId xmlns:a16="http://schemas.microsoft.com/office/drawing/2014/main" id="{DDF68B26-B66B-A679-4FA8-E08328A397EF}"/>
                  </a:ext>
                </a:extLst>
              </p:cNvPr>
              <p:cNvSpPr/>
              <p:nvPr/>
            </p:nvSpPr>
            <p:spPr>
              <a:xfrm>
                <a:off x="803725" y="4219935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9" name="Graphic 48">
                <a:extLst>
                  <a:ext uri="{FF2B5EF4-FFF2-40B4-BE49-F238E27FC236}">
                    <a16:creationId xmlns:a16="http://schemas.microsoft.com/office/drawing/2014/main" id="{33DBFBE0-874D-6760-C42D-671E8A93DD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5849" y="4358082"/>
                <a:ext cx="279745" cy="227699"/>
              </a:xfrm>
              <a:prstGeom prst="rect">
                <a:avLst/>
              </a:prstGeom>
            </p:spPr>
          </p:pic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AB14513-9787-0256-026B-7AB9FFA78CAA}"/>
              </a:ext>
            </a:extLst>
          </p:cNvPr>
          <p:cNvGrpSpPr/>
          <p:nvPr/>
        </p:nvGrpSpPr>
        <p:grpSpPr>
          <a:xfrm>
            <a:off x="801299" y="5563690"/>
            <a:ext cx="3414536" cy="757101"/>
            <a:chOff x="803725" y="5099909"/>
            <a:chExt cx="3414536" cy="757101"/>
          </a:xfrm>
        </p:grpSpPr>
        <p:sp>
          <p:nvSpPr>
            <p:cNvPr id="51" name="Google Shape;562;p30">
              <a:extLst>
                <a:ext uri="{FF2B5EF4-FFF2-40B4-BE49-F238E27FC236}">
                  <a16:creationId xmlns:a16="http://schemas.microsoft.com/office/drawing/2014/main" id="{1A0EB63E-B13B-9D6F-5480-8673966A3DD0}"/>
                </a:ext>
              </a:extLst>
            </p:cNvPr>
            <p:cNvSpPr txBox="1"/>
            <p:nvPr/>
          </p:nvSpPr>
          <p:spPr>
            <a:xfrm>
              <a:off x="1437182" y="5163607"/>
              <a:ext cx="2781079" cy="6934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Generate meaningful insights to enhance the candidate recruitment experience.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3ACC8BF-EB37-0436-0679-3FC8DBA545C1}"/>
                </a:ext>
              </a:extLst>
            </p:cNvPr>
            <p:cNvGrpSpPr/>
            <p:nvPr/>
          </p:nvGrpSpPr>
          <p:grpSpPr>
            <a:xfrm>
              <a:off x="803725" y="5099909"/>
              <a:ext cx="503992" cy="503992"/>
              <a:chOff x="803725" y="5091190"/>
              <a:chExt cx="503992" cy="503992"/>
            </a:xfrm>
          </p:grpSpPr>
          <p:sp>
            <p:nvSpPr>
              <p:cNvPr id="53" name="Google Shape;557;p30">
                <a:extLst>
                  <a:ext uri="{FF2B5EF4-FFF2-40B4-BE49-F238E27FC236}">
                    <a16:creationId xmlns:a16="http://schemas.microsoft.com/office/drawing/2014/main" id="{FE8AD1C5-D386-085B-2B7E-5979368F499E}"/>
                  </a:ext>
                </a:extLst>
              </p:cNvPr>
              <p:cNvSpPr/>
              <p:nvPr/>
            </p:nvSpPr>
            <p:spPr>
              <a:xfrm>
                <a:off x="803725" y="5091190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02E0615B-C376-CA04-F318-A6A7740311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915849" y="5209819"/>
                <a:ext cx="279745" cy="266734"/>
              </a:xfrm>
              <a:prstGeom prst="rect">
                <a:avLst/>
              </a:prstGeom>
            </p:spPr>
          </p:pic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2F423DA-9C1C-4E94-13C2-DF683537591B}"/>
              </a:ext>
            </a:extLst>
          </p:cNvPr>
          <p:cNvGrpSpPr/>
          <p:nvPr/>
        </p:nvGrpSpPr>
        <p:grpSpPr>
          <a:xfrm>
            <a:off x="4952606" y="6110897"/>
            <a:ext cx="3401174" cy="503993"/>
            <a:chOff x="4949498" y="6110669"/>
            <a:chExt cx="3401174" cy="503993"/>
          </a:xfrm>
        </p:grpSpPr>
        <p:sp>
          <p:nvSpPr>
            <p:cNvPr id="36" name="Google Shape;573;p30">
              <a:extLst>
                <a:ext uri="{FF2B5EF4-FFF2-40B4-BE49-F238E27FC236}">
                  <a16:creationId xmlns:a16="http://schemas.microsoft.com/office/drawing/2014/main" id="{50D458FE-D4D2-A99A-CE32-A0E3AC12B9A5}"/>
                </a:ext>
              </a:extLst>
            </p:cNvPr>
            <p:cNvSpPr txBox="1"/>
            <p:nvPr/>
          </p:nvSpPr>
          <p:spPr>
            <a:xfrm>
              <a:off x="5582955" y="6110670"/>
              <a:ext cx="2767717" cy="5039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Creating a Dashboard for a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74151"/>
                  </a:solidFill>
                  <a:effectLst/>
                  <a:uLnTx/>
                  <a:uFillTx/>
                  <a:latin typeface="Calibri" panose="020F0502020204030204"/>
                  <a:cs typeface="Arial"/>
                  <a:sym typeface="Arial"/>
                </a:rPr>
                <a:t>streamlined analysi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7D0F03B-6B08-69F6-DFC6-E8F69141BBC9}"/>
                </a:ext>
              </a:extLst>
            </p:cNvPr>
            <p:cNvGrpSpPr/>
            <p:nvPr/>
          </p:nvGrpSpPr>
          <p:grpSpPr>
            <a:xfrm>
              <a:off x="4949498" y="6110669"/>
              <a:ext cx="503992" cy="503992"/>
              <a:chOff x="4949498" y="6202259"/>
              <a:chExt cx="503992" cy="503992"/>
            </a:xfrm>
          </p:grpSpPr>
          <p:sp>
            <p:nvSpPr>
              <p:cNvPr id="38" name="Google Shape;558;p30">
                <a:extLst>
                  <a:ext uri="{FF2B5EF4-FFF2-40B4-BE49-F238E27FC236}">
                    <a16:creationId xmlns:a16="http://schemas.microsoft.com/office/drawing/2014/main" id="{75E80F64-F84D-DCF0-AFB0-38BE7AC116C1}"/>
                  </a:ext>
                </a:extLst>
              </p:cNvPr>
              <p:cNvSpPr/>
              <p:nvPr/>
            </p:nvSpPr>
            <p:spPr>
              <a:xfrm>
                <a:off x="4949498" y="6202259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75" name="Graphic 74">
                <a:extLst>
                  <a:ext uri="{FF2B5EF4-FFF2-40B4-BE49-F238E27FC236}">
                    <a16:creationId xmlns:a16="http://schemas.microsoft.com/office/drawing/2014/main" id="{E8AB0CE2-199E-47AA-ED33-2D651DEF45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047634" y="6329021"/>
                <a:ext cx="307720" cy="250469"/>
              </a:xfrm>
              <a:prstGeom prst="rect">
                <a:avLst/>
              </a:prstGeom>
            </p:spPr>
          </p:pic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4F3AC4C-3A74-F006-B5E5-4A6080AF3F86}"/>
              </a:ext>
            </a:extLst>
          </p:cNvPr>
          <p:cNvGrpSpPr/>
          <p:nvPr/>
        </p:nvGrpSpPr>
        <p:grpSpPr>
          <a:xfrm>
            <a:off x="4952606" y="3433346"/>
            <a:ext cx="3502693" cy="646159"/>
            <a:chOff x="4949498" y="3541552"/>
            <a:chExt cx="3502693" cy="646159"/>
          </a:xfrm>
        </p:grpSpPr>
        <p:sp>
          <p:nvSpPr>
            <p:cNvPr id="46" name="Google Shape;574;p30">
              <a:extLst>
                <a:ext uri="{FF2B5EF4-FFF2-40B4-BE49-F238E27FC236}">
                  <a16:creationId xmlns:a16="http://schemas.microsoft.com/office/drawing/2014/main" id="{717B2DD5-9EDA-6D27-4385-552D03349A62}"/>
                </a:ext>
              </a:extLst>
            </p:cNvPr>
            <p:cNvSpPr txBox="1"/>
            <p:nvPr/>
          </p:nvSpPr>
          <p:spPr>
            <a:xfrm>
              <a:off x="5582955" y="3541553"/>
              <a:ext cx="2869236" cy="64615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Conducting sentiment analysis to analyze candidate feedback and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extract the overall sentiment.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4593A578-64EC-FF7F-508B-E76DF8A8557D}"/>
                </a:ext>
              </a:extLst>
            </p:cNvPr>
            <p:cNvGrpSpPr/>
            <p:nvPr/>
          </p:nvGrpSpPr>
          <p:grpSpPr>
            <a:xfrm>
              <a:off x="4949498" y="3541552"/>
              <a:ext cx="503992" cy="503992"/>
              <a:chOff x="4949498" y="3541552"/>
              <a:chExt cx="503992" cy="503992"/>
            </a:xfrm>
          </p:grpSpPr>
          <p:sp>
            <p:nvSpPr>
              <p:cNvPr id="48" name="Google Shape;554;p30">
                <a:extLst>
                  <a:ext uri="{FF2B5EF4-FFF2-40B4-BE49-F238E27FC236}">
                    <a16:creationId xmlns:a16="http://schemas.microsoft.com/office/drawing/2014/main" id="{EFC4AD23-4962-8F9D-5EB7-63B82E9CDAF6}"/>
                  </a:ext>
                </a:extLst>
              </p:cNvPr>
              <p:cNvSpPr/>
              <p:nvPr/>
            </p:nvSpPr>
            <p:spPr>
              <a:xfrm>
                <a:off x="4949498" y="3541552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77" name="Graphic 76">
                <a:extLst>
                  <a:ext uri="{FF2B5EF4-FFF2-40B4-BE49-F238E27FC236}">
                    <a16:creationId xmlns:a16="http://schemas.microsoft.com/office/drawing/2014/main" id="{8B7C25FE-CD16-2E81-89A8-44AED07A19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047634" y="3668314"/>
                <a:ext cx="307720" cy="250469"/>
              </a:xfrm>
              <a:prstGeom prst="rect">
                <a:avLst/>
              </a:prstGeom>
            </p:spPr>
          </p:pic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3BAD0FF-D625-2583-A3A4-B675ABC01BBE}"/>
              </a:ext>
            </a:extLst>
          </p:cNvPr>
          <p:cNvGrpSpPr/>
          <p:nvPr/>
        </p:nvGrpSpPr>
        <p:grpSpPr>
          <a:xfrm>
            <a:off x="4952606" y="4346921"/>
            <a:ext cx="3401174" cy="1496561"/>
            <a:chOff x="4949498" y="4963842"/>
            <a:chExt cx="3401174" cy="1496561"/>
          </a:xfrm>
        </p:grpSpPr>
        <p:sp>
          <p:nvSpPr>
            <p:cNvPr id="41" name="Google Shape;581;p30">
              <a:extLst>
                <a:ext uri="{FF2B5EF4-FFF2-40B4-BE49-F238E27FC236}">
                  <a16:creationId xmlns:a16="http://schemas.microsoft.com/office/drawing/2014/main" id="{7A4C0872-EC88-EDBB-8CBD-96830AE10D48}"/>
                </a:ext>
              </a:extLst>
            </p:cNvPr>
            <p:cNvSpPr txBox="1"/>
            <p:nvPr/>
          </p:nvSpPr>
          <p:spPr>
            <a:xfrm>
              <a:off x="5582955" y="4963843"/>
              <a:ext cx="2767717" cy="14965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Leveraging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AI-powered text summarization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through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OpenAI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rPr>
                <a:t>, the extract key insights  from candidate comments and displaying  the corresponding specific comments.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C3FEE74E-1B09-0ECE-17AD-7782235064F7}"/>
                </a:ext>
              </a:extLst>
            </p:cNvPr>
            <p:cNvGrpSpPr/>
            <p:nvPr/>
          </p:nvGrpSpPr>
          <p:grpSpPr>
            <a:xfrm>
              <a:off x="4949498" y="4963842"/>
              <a:ext cx="503992" cy="503992"/>
              <a:chOff x="4949498" y="4963842"/>
              <a:chExt cx="503992" cy="503992"/>
            </a:xfrm>
          </p:grpSpPr>
          <p:sp>
            <p:nvSpPr>
              <p:cNvPr id="43" name="Google Shape;557;p30">
                <a:extLst>
                  <a:ext uri="{FF2B5EF4-FFF2-40B4-BE49-F238E27FC236}">
                    <a16:creationId xmlns:a16="http://schemas.microsoft.com/office/drawing/2014/main" id="{26FA3E6F-16CC-3A8E-5316-4D6878A5859F}"/>
                  </a:ext>
                </a:extLst>
              </p:cNvPr>
              <p:cNvSpPr/>
              <p:nvPr/>
            </p:nvSpPr>
            <p:spPr>
              <a:xfrm>
                <a:off x="4949498" y="4963842"/>
                <a:ext cx="503992" cy="503992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00781" tIns="50375" rIns="100781" bIns="50375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79" name="Graphic 78">
                <a:extLst>
                  <a:ext uri="{FF2B5EF4-FFF2-40B4-BE49-F238E27FC236}">
                    <a16:creationId xmlns:a16="http://schemas.microsoft.com/office/drawing/2014/main" id="{A49636D8-552B-6289-137D-88942F5B2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044056" y="5066272"/>
                <a:ext cx="314876" cy="299132"/>
              </a:xfrm>
              <a:prstGeom prst="rect">
                <a:avLst/>
              </a:prstGeom>
            </p:spPr>
          </p:pic>
        </p:grpSp>
      </p:grpSp>
      <p:sp>
        <p:nvSpPr>
          <p:cNvPr id="2" name="Google Shape;541;p30">
            <a:extLst>
              <a:ext uri="{FF2B5EF4-FFF2-40B4-BE49-F238E27FC236}">
                <a16:creationId xmlns:a16="http://schemas.microsoft.com/office/drawing/2014/main" id="{459D2802-1B74-ACD7-E83B-D884B7D00E7F}"/>
              </a:ext>
            </a:extLst>
          </p:cNvPr>
          <p:cNvSpPr txBox="1"/>
          <p:nvPr/>
        </p:nvSpPr>
        <p:spPr>
          <a:xfrm>
            <a:off x="9919166" y="2095528"/>
            <a:ext cx="1885146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Outcome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3" name="Google Shape;546;p30">
            <a:extLst>
              <a:ext uri="{FF2B5EF4-FFF2-40B4-BE49-F238E27FC236}">
                <a16:creationId xmlns:a16="http://schemas.microsoft.com/office/drawing/2014/main" id="{D69BDBBE-FDFB-3B4F-8071-241BA200B6DA}"/>
              </a:ext>
            </a:extLst>
          </p:cNvPr>
          <p:cNvSpPr txBox="1"/>
          <p:nvPr/>
        </p:nvSpPr>
        <p:spPr>
          <a:xfrm>
            <a:off x="1343086" y="2095528"/>
            <a:ext cx="2444501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Client Challenge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6" name="Google Shape;567;p30">
            <a:extLst>
              <a:ext uri="{FF2B5EF4-FFF2-40B4-BE49-F238E27FC236}">
                <a16:creationId xmlns:a16="http://schemas.microsoft.com/office/drawing/2014/main" id="{7013453D-EE2C-DE94-297C-0360B67D4AF2}"/>
              </a:ext>
            </a:extLst>
          </p:cNvPr>
          <p:cNvSpPr txBox="1"/>
          <p:nvPr/>
        </p:nvSpPr>
        <p:spPr>
          <a:xfrm>
            <a:off x="5743466" y="2095528"/>
            <a:ext cx="1940142" cy="31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IN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Franklin Gothic"/>
                <a:cs typeface="Franklin Gothic"/>
                <a:sym typeface="Franklin Gothic"/>
              </a:rPr>
              <a:t>Our Solution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FFC06B7-BE50-F6DA-C67A-647C493BC307}"/>
              </a:ext>
            </a:extLst>
          </p:cNvPr>
          <p:cNvCxnSpPr/>
          <p:nvPr/>
        </p:nvCxnSpPr>
        <p:spPr>
          <a:xfrm>
            <a:off x="866265" y="5396194"/>
            <a:ext cx="3600414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960E2F5-AFB5-4C90-E4E6-A06E90F0FD0A}"/>
              </a:ext>
            </a:extLst>
          </p:cNvPr>
          <p:cNvCxnSpPr/>
          <p:nvPr/>
        </p:nvCxnSpPr>
        <p:spPr>
          <a:xfrm>
            <a:off x="4952606" y="5977190"/>
            <a:ext cx="3600414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C343DE5-C14B-ADBF-27E4-93D094785073}"/>
              </a:ext>
            </a:extLst>
          </p:cNvPr>
          <p:cNvCxnSpPr/>
          <p:nvPr/>
        </p:nvCxnSpPr>
        <p:spPr>
          <a:xfrm>
            <a:off x="4952606" y="4213213"/>
            <a:ext cx="3600414" cy="0"/>
          </a:xfrm>
          <a:prstGeom prst="line">
            <a:avLst/>
          </a:prstGeom>
          <a:ln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0999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GbONRlHa1tN1XBg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wcc7DejGViCWBFpFD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3g6oHR.eSMeI2wrOH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SAEtFUhbxIAwICusE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7v3cWm.ALjPRKJ9nXr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9IE.7bLxBrULpoO3xS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F5.eRNR9rPuGQEZuE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LRVt1qo76aFx.vfDh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t0G4uAyuYyTKhWLOj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6Cj340VALGJWLymSW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.igiAg4ypsuWHYavc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Nl1HuxWDhxLyTiC38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jA4ltcgICe3e6_2sK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3fl1AeGXOX4VVDsMkf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_2lQ1IrOBXnwywwFf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63.y13U8EVew42DLd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bFPeJl2HOzH79zldp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vDAAg8kg2cvbrebxA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MRpyJXMeKwLC3sJ68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o.O3YUYWzoTtrSsmIHw"/>
</p:tagLst>
</file>

<file path=ppt/theme/theme1.xml><?xml version="1.0" encoding="utf-8"?>
<a:theme xmlns:a="http://schemas.openxmlformats.org/drawingml/2006/main" name="1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fomineo_Template_Widescreen.potm" id="{A045A23C-F332-4D97-85AE-0C2DA41476AA}" vid="{1F177315-FD57-47DC-832A-616B4C14F39F}"/>
    </a:ext>
  </a:extLst>
</a:theme>
</file>

<file path=ppt/theme/theme2.xml><?xml version="1.0" encoding="utf-8"?>
<a:theme xmlns:a="http://schemas.openxmlformats.org/drawingml/2006/main" name="2_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af609d-d070-4076-a2d2-d679d8975de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B99F070A47694BA29DA677127D2114" ma:contentTypeVersion="13" ma:contentTypeDescription="Create a new document." ma:contentTypeScope="" ma:versionID="d659af657f7e2ea6b689cf21dd734794">
  <xsd:schema xmlns:xsd="http://www.w3.org/2001/XMLSchema" xmlns:xs="http://www.w3.org/2001/XMLSchema" xmlns:p="http://schemas.microsoft.com/office/2006/metadata/properties" xmlns:ns3="d6af609d-d070-4076-a2d2-d679d8975de3" xmlns:ns4="8f56eb53-d1b7-489e-ab13-08801bbc243a" targetNamespace="http://schemas.microsoft.com/office/2006/metadata/properties" ma:root="true" ma:fieldsID="3992c173ab369a76c453d616e78c3803" ns3:_="" ns4:_="">
    <xsd:import namespace="d6af609d-d070-4076-a2d2-d679d8975de3"/>
    <xsd:import namespace="8f56eb53-d1b7-489e-ab13-08801bbc243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af609d-d070-4076-a2d2-d679d8975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56eb53-d1b7-489e-ab13-08801bbc243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605247-F093-4678-B127-1C235A426839}">
  <ds:schemaRefs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8f56eb53-d1b7-489e-ab13-08801bbc243a"/>
    <ds:schemaRef ds:uri="http://purl.org/dc/elements/1.1/"/>
    <ds:schemaRef ds:uri="http://purl.org/dc/terms/"/>
    <ds:schemaRef ds:uri="http://schemas.microsoft.com/office/infopath/2007/PartnerControls"/>
    <ds:schemaRef ds:uri="d6af609d-d070-4076-a2d2-d679d8975de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D0BEF0E-EB00-41BE-9FAD-D85240F6BB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af609d-d070-4076-a2d2-d679d8975de3"/>
    <ds:schemaRef ds:uri="8f56eb53-d1b7-489e-ab13-08801bbc24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4F9A23-DBF1-454E-9EDB-619B631732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41</TotalTime>
  <Words>1846</Words>
  <Application>Microsoft Office PowerPoint</Application>
  <PresentationFormat>Custom</PresentationFormat>
  <Paragraphs>202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Wingdings 2</vt:lpstr>
      <vt:lpstr>Franklin Gothic</vt:lpstr>
      <vt:lpstr>Calibri Light</vt:lpstr>
      <vt:lpstr>Arial</vt:lpstr>
      <vt:lpstr>Noto Sans Symbols</vt:lpstr>
      <vt:lpstr>Libre Franklin</vt:lpstr>
      <vt:lpstr>Franklin Gothic Demi</vt:lpstr>
      <vt:lpstr>Franklin Gothic Book</vt:lpstr>
      <vt:lpstr>Calibri</vt:lpstr>
      <vt:lpstr>Wingdings</vt:lpstr>
      <vt:lpstr>1_Office Theme</vt:lpstr>
      <vt:lpstr>2_Office Theme</vt:lpstr>
      <vt:lpstr>think-cell Slide</vt:lpstr>
      <vt:lpstr>Data Analytics Uses Cases Examples</vt:lpstr>
      <vt:lpstr>PowerPoint Presentation</vt:lpstr>
      <vt:lpstr>A Comprehensive Dashboard of Key HR Metrics  and Performance Indicators</vt:lpstr>
      <vt:lpstr>A Comprehensive Dashboard of HR Key Metrics and Performance Indicators</vt:lpstr>
      <vt:lpstr>Web Scraping Tool for Second-Hand Car Sales</vt:lpstr>
      <vt:lpstr>Web Scraping Tool for Second-Hand Car Sales</vt:lpstr>
      <vt:lpstr>Mapping Banking Services: An Analysis of Branch Locations and Demographics</vt:lpstr>
      <vt:lpstr>Mapping Banking Services: An Analysis of Branch Locations and Demographics</vt:lpstr>
      <vt:lpstr>Assessing Candidates’ Experience through Sentiment Analysis</vt:lpstr>
      <vt:lpstr>Assessing Candidates’ Experience through Sentiment Analysis</vt:lpstr>
      <vt:lpstr>Assessing Candidates’ Experience through Sentiment Analysis</vt:lpstr>
      <vt:lpstr>Geospatial Analysis of Labor Catchment:  Assessing Employment and Demographic Patterns</vt:lpstr>
      <vt:lpstr>Geospatial Analysis of Labor Catchment:  Assessing Employment and Demographic Patter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 Data Analytics Services</dc:title>
  <dc:creator>User1</dc:creator>
  <cp:lastModifiedBy>Casa 3</cp:lastModifiedBy>
  <cp:revision>58</cp:revision>
  <dcterms:created xsi:type="dcterms:W3CDTF">2022-09-30T10:53:53Z</dcterms:created>
  <dcterms:modified xsi:type="dcterms:W3CDTF">2023-07-06T14:1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05811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0.0</vt:lpwstr>
  </property>
  <property fmtid="{D5CDD505-2E9C-101B-9397-08002B2CF9AE}" pid="5" name="ContentTypeId">
    <vt:lpwstr>0x010100CEB99F070A47694BA29DA677127D2114</vt:lpwstr>
  </property>
</Properties>
</file>